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7"/>
  </p:notesMasterIdLst>
  <p:sldIdLst>
    <p:sldId id="2147477365" r:id="rId5"/>
    <p:sldId id="2147477366" r:id="rId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ubSegment Price Correlation Analysis P3Y" id="{38E0D9C7-44EB-4FBC-B4A2-E4D22E656145}">
          <p14:sldIdLst>
            <p14:sldId id="2147477365"/>
            <p14:sldId id="214747736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966" y="84"/>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notesMaster" Target="notesMasters/notesMaster1.xml"/><Relationship Id="rId8" Type="http://schemas.openxmlformats.org/officeDocument/2006/relationships/presProps" Target="presProps.xml"/><Relationship Id="rId9" Type="http://schemas.openxmlformats.org/officeDocument/2006/relationships/viewProps" Target="viewProps.xml"/><Relationship Id="rId10" Type="http://schemas.openxmlformats.org/officeDocument/2006/relationships/theme" Target="theme/theme1.xml"/><Relationship Id="rId11" Type="http://schemas.openxmlformats.org/officeDocument/2006/relationships/tableStyles" Target="tableStyles.xml"/><Relationship Id="rId12"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1.6862600586689458</c:v>
                </c:pt>
                <c:pt idx="2">
                  <c:v>0.0</c:v>
                </c:pt>
                <c:pt idx="3">
                  <c:v>2.0594416191457756</c:v>
                </c:pt>
                <c:pt idx="4">
                  <c:v>2.2672765311944776</c:v>
                </c:pt>
                <c:pt idx="5">
                  <c:v>1.5938879572909894</c:v>
                </c:pt>
                <c:pt idx="6">
                  <c:v>1.1018065121270395</c:v>
                </c:pt>
                <c:pt idx="7">
                  <c:v>1.2936200310050263</c:v>
                </c:pt>
                <c:pt idx="8">
                  <c:v>1.541814240313479</c:v>
                </c:pt>
                <c:pt idx="9">
                  <c:v>1.2840894519985662</c:v>
                </c:pt>
                <c:pt idx="10">
                  <c:v>1.341078964374828</c:v>
                </c:pt>
                <c:pt idx="11">
                  <c:v>1.6849451432927125</c:v>
                </c:pt>
                <c:pt idx="12">
                  <c:v>1.3682629955507062</c:v>
                </c:pt>
                <c:pt idx="13">
                  <c:v>1.4596819449571912</c:v>
                </c:pt>
                <c:pt idx="14">
                  <c:v>1.39635986331847</c:v>
                </c:pt>
                <c:pt idx="15">
                  <c:v>1.3312502727759938</c:v>
                </c:pt>
                <c:pt idx="16">
                  <c:v>1.2738944057992407</c:v>
                </c:pt>
                <c:pt idx="17">
                  <c:v>1.0412153497783914</c:v>
                </c:pt>
                <c:pt idx="18">
                  <c:v>0.7835429443252071</c:v>
                </c:pt>
                <c:pt idx="19">
                  <c:v>0.9607895511822604</c:v>
                </c:pt>
                <c:pt idx="20">
                  <c:v>0.8829229884473699</c:v>
                </c:pt>
                <c:pt idx="21">
                  <c:v>0.8326640651864625</c:v>
                </c:pt>
                <c:pt idx="22">
                  <c:v>0.3957319304875377</c:v>
                </c:pt>
                <c:pt idx="23">
                  <c:v>0.541064650549149</c:v>
                </c:pt>
                <c:pt idx="24">
                  <c:v>1.9922977524709158</c:v>
                </c:pt>
                <c:pt idx="25">
                  <c:v>2.1745367511278193</c:v>
                </c:pt>
                <c:pt idx="26">
                  <c:v>2.1895054265976195</c:v>
                </c:pt>
                <c:pt idx="27">
                  <c:v>1.6199407230411402</c:v>
                </c:pt>
                <c:pt idx="28">
                  <c:v>2.2583022604759124</c:v>
                </c:pt>
                <c:pt idx="29">
                  <c:v>2.220158996005255</c:v>
                </c:pt>
                <c:pt idx="30">
                  <c:v>1.934116086437749</c:v>
                </c:pt>
                <c:pt idx="31">
                  <c:v>2.057174323089799</c:v>
                </c:pt>
                <c:pt idx="32">
                  <c:v>2.2178600690143884</c:v>
                </c:pt>
                <c:pt idx="33">
                  <c:v>2.051753662552416</c:v>
                </c:pt>
                <c:pt idx="34">
                  <c:v>1.8646936211074265</c:v>
                </c:pt>
                <c:pt idx="35">
                  <c:v>2.6761272763359507</c:v>
                </c:pt>
                <c:pt idx="36">
                  <c:v>2.7702693329634096</c:v>
                </c:pt>
                <c:pt idx="37">
                  <c:v>2.310510182570321</c:v>
                </c:pt>
                <c:pt idx="38">
                  <c:v>2.091135564082844</c:v>
                </c:pt>
                <c:pt idx="39">
                  <c:v>2.2958366004566035</c:v>
                </c:pt>
                <c:pt idx="40">
                  <c:v>2.0605442007130006</c:v>
                </c:pt>
                <c:pt idx="41">
                  <c:v>2.4787901778450636</c:v>
                </c:pt>
                <c:pt idx="42">
                  <c:v>2.4842477494224817</c:v>
                </c:pt>
                <c:pt idx="43">
                  <c:v>2.730307049928321</c:v>
                </c:pt>
                <c:pt idx="44">
                  <c:v>2.79674327136952</c:v>
                </c:pt>
                <c:pt idx="45">
                  <c:v>2.24722984078084</c:v>
                </c:pt>
                <c:pt idx="46">
                  <c:v>2.4066099278410227</c:v>
                </c:pt>
                <c:pt idx="47">
                  <c:v>2.359931781646022</c:v>
                </c:pt>
                <c:pt idx="48">
                  <c:v>2.4980432137787774</c:v>
                </c:pt>
                <c:pt idx="49">
                  <c:v>2.7911893610874317</c:v>
                </c:pt>
                <c:pt idx="50">
                  <c:v>2.3844945307758225</c:v>
                </c:pt>
                <c:pt idx="51">
                  <c:v>2.476159037893665</c:v>
                </c:pt>
                <c:pt idx="52">
                  <c:v>2.7154423212212304</c:v>
                </c:pt>
                <c:pt idx="53">
                  <c:v>2.7099623114756897</c:v>
                </c:pt>
              </c:numCache>
            </c:numRef>
          </c:xVal>
          <c:yVal>
            <c:numRef>
              <c:f>Sheet1!$B$2:$B$55</c:f>
              <c:numCache>
                <c:formatCode>General</c:formatCode>
                <c:ptCount val="54"/>
                <c:pt idx="0">
                  <c:v>0.0</c:v>
                </c:pt>
                <c:pt idx="1">
                  <c:v>4.203976962206247e-05</c:v>
                </c:pt>
                <c:pt idx="2">
                  <c:v>0.0</c:v>
                </c:pt>
                <c:pt idx="3">
                  <c:v>5.792400370713624e-05</c:v>
                </c:pt>
                <c:pt idx="4">
                  <c:v>5.8599472604746556e-05</c:v>
                </c:pt>
                <c:pt idx="5">
                  <c:v>0.00012399256044637322</c:v>
                </c:pt>
                <c:pt idx="6">
                  <c:v>0.0001052853232259423</c:v>
                </c:pt>
                <c:pt idx="7">
                  <c:v>0.0001488390553681286</c:v>
                </c:pt>
                <c:pt idx="8">
                  <c:v>0.00018857250612860644</c:v>
                </c:pt>
                <c:pt idx="9">
                  <c:v>0.0004276855085893506</c:v>
                </c:pt>
                <c:pt idx="10">
                  <c:v>0.0005043627376809402</c:v>
                </c:pt>
                <c:pt idx="11">
                  <c:v>0.00038242745829150535</c:v>
                </c:pt>
                <c:pt idx="12">
                  <c:v>0.000491664059357261</c:v>
                </c:pt>
                <c:pt idx="13">
                  <c:v>0.0004762317083730193</c:v>
                </c:pt>
                <c:pt idx="14">
                  <c:v>0.0004988662131519275</c:v>
                </c:pt>
                <c:pt idx="15">
                  <c:v>0.0004623422257154746</c:v>
                </c:pt>
                <c:pt idx="16">
                  <c:v>0.0004905327185323261</c:v>
                </c:pt>
                <c:pt idx="17">
                  <c:v>0.0007590797617657363</c:v>
                </c:pt>
                <c:pt idx="18">
                  <c:v>0.0008975989228812925</c:v>
                </c:pt>
                <c:pt idx="19">
                  <c:v>0.0005738880918220947</c:v>
                </c:pt>
                <c:pt idx="20">
                  <c:v>0.0008151287903488751</c:v>
                </c:pt>
                <c:pt idx="21">
                  <c:v>0.0008460887624028921</c:v>
                </c:pt>
                <c:pt idx="22">
                  <c:v>0.0012601865076031253</c:v>
                </c:pt>
                <c:pt idx="23">
                  <c:v>0.0011752722714095433</c:v>
                </c:pt>
                <c:pt idx="24">
                  <c:v>0.0010966916468652897</c:v>
                </c:pt>
                <c:pt idx="25">
                  <c:v>0.0015876165905933718</c:v>
                </c:pt>
                <c:pt idx="26">
                  <c:v>0.0020464545175483476</c:v>
                </c:pt>
                <c:pt idx="27">
                  <c:v>0.002740351678465403</c:v>
                </c:pt>
                <c:pt idx="28">
                  <c:v>0.00183452577508714</c:v>
                </c:pt>
                <c:pt idx="29">
                  <c:v>0.0017199239612564498</c:v>
                </c:pt>
                <c:pt idx="30">
                  <c:v>0.002339086949507985</c:v>
                </c:pt>
                <c:pt idx="31">
                  <c:v>0.0025218030892087844</c:v>
                </c:pt>
                <c:pt idx="32">
                  <c:v>0.0022651406771578447</c:v>
                </c:pt>
                <c:pt idx="33">
                  <c:v>0.002303030303030303</c:v>
                </c:pt>
                <c:pt idx="34">
                  <c:v>0.002541026998411858</c:v>
                </c:pt>
                <c:pt idx="35">
                  <c:v>0.002250442051117184</c:v>
                </c:pt>
                <c:pt idx="36">
                  <c:v>0.002062328139321723</c:v>
                </c:pt>
                <c:pt idx="37">
                  <c:v>0.003053886316619052</c:v>
                </c:pt>
                <c:pt idx="38">
                  <c:v>0.003924133420536298</c:v>
                </c:pt>
                <c:pt idx="39">
                  <c:v>0.0034831460674157304</c:v>
                </c:pt>
                <c:pt idx="40">
                  <c:v>0.0038394032470381746</c:v>
                </c:pt>
                <c:pt idx="41">
                  <c:v>0.0030076480192489474</c:v>
                </c:pt>
                <c:pt idx="42">
                  <c:v>0.0030077700726877767</c:v>
                </c:pt>
                <c:pt idx="43">
                  <c:v>0.0028936805750023335</c:v>
                </c:pt>
                <c:pt idx="44">
                  <c:v>0.003092570957322521</c:v>
                </c:pt>
                <c:pt idx="45">
                  <c:v>0.003928196227104554</c:v>
                </c:pt>
                <c:pt idx="46">
                  <c:v>0.004563468235859253</c:v>
                </c:pt>
                <c:pt idx="47">
                  <c:v>0.004353732019086762</c:v>
                </c:pt>
                <c:pt idx="48">
                  <c:v>0.003986093628244321</c:v>
                </c:pt>
                <c:pt idx="49">
                  <c:v>0.003114294612270321</c:v>
                </c:pt>
                <c:pt idx="50">
                  <c:v>0.004557186643006936</c:v>
                </c:pt>
                <c:pt idx="51">
                  <c:v>0.004130594692468737</c:v>
                </c:pt>
                <c:pt idx="52">
                  <c:v>0.003532182103610675</c:v>
                </c:pt>
                <c:pt idx="53">
                  <c:v>0.0029495044832468145</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2.711448902339665</c:v>
                </c:pt>
                <c:pt idx="1">
                  <c:v>2.158060474905772</c:v>
                </c:pt>
                <c:pt idx="2">
                  <c:v>2.545420566013431</c:v>
                </c:pt>
                <c:pt idx="3">
                  <c:v>2.061531247582843</c:v>
                </c:pt>
                <c:pt idx="4">
                  <c:v>2.5242512455169064</c:v>
                </c:pt>
                <c:pt idx="5">
                  <c:v>2.7952176429383497</c:v>
                </c:pt>
                <c:pt idx="6">
                  <c:v>2.8304834489871973</c:v>
                </c:pt>
                <c:pt idx="7">
                  <c:v>2.5412132011421353</c:v>
                </c:pt>
                <c:pt idx="8">
                  <c:v>2.4237777945895997</c:v>
                </c:pt>
                <c:pt idx="9">
                  <c:v>2.4575458141083804</c:v>
                </c:pt>
                <c:pt idx="10">
                  <c:v>2.5790928774714414</c:v>
                </c:pt>
                <c:pt idx="11">
                  <c:v>2.644220768705237</c:v>
                </c:pt>
                <c:pt idx="12">
                  <c:v>2.4631372134217817</c:v>
                </c:pt>
                <c:pt idx="13">
                  <c:v>2.016658063868978</c:v>
                </c:pt>
                <c:pt idx="14">
                  <c:v>2.012079866170662</c:v>
                </c:pt>
                <c:pt idx="15">
                  <c:v>2.111667063298328</c:v>
                </c:pt>
                <c:pt idx="16">
                  <c:v>2.184569097228522</c:v>
                </c:pt>
                <c:pt idx="17">
                  <c:v>1.7104256243142686</c:v>
                </c:pt>
                <c:pt idx="18">
                  <c:v>2.4299527078506205</c:v>
                </c:pt>
                <c:pt idx="19">
                  <c:v>2.3984769529952374</c:v>
                </c:pt>
                <c:pt idx="20">
                  <c:v>2.1529848385627663</c:v>
                </c:pt>
                <c:pt idx="21">
                  <c:v>2.0065425217894295</c:v>
                </c:pt>
                <c:pt idx="22">
                  <c:v>2.1142972486299394</c:v>
                </c:pt>
                <c:pt idx="23">
                  <c:v>1.6417785239381952</c:v>
                </c:pt>
                <c:pt idx="24">
                  <c:v>2.1256210935257753</c:v>
                </c:pt>
                <c:pt idx="25">
                  <c:v>2.117269100429846</c:v>
                </c:pt>
                <c:pt idx="26">
                  <c:v>2.190399975470354</c:v>
                </c:pt>
                <c:pt idx="27">
                  <c:v>2.0833492473626887</c:v>
                </c:pt>
                <c:pt idx="28">
                  <c:v>2.152527466326854</c:v>
                </c:pt>
                <c:pt idx="29">
                  <c:v>1.9204058108557978</c:v>
                </c:pt>
                <c:pt idx="30">
                  <c:v>1.897208865992495</c:v>
                </c:pt>
                <c:pt idx="31">
                  <c:v>2.0216073433899022</c:v>
                </c:pt>
                <c:pt idx="32">
                  <c:v>2.27134712341451</c:v>
                </c:pt>
                <c:pt idx="33">
                  <c:v>2.566202556147828</c:v>
                </c:pt>
                <c:pt idx="34">
                  <c:v>2.674444606224045</c:v>
                </c:pt>
                <c:pt idx="35">
                  <c:v>2.1271168021360336</c:v>
                </c:pt>
                <c:pt idx="36">
                  <c:v>2.0752301458025264</c:v>
                </c:pt>
                <c:pt idx="37">
                  <c:v>2.0444154930053076</c:v>
                </c:pt>
                <c:pt idx="38">
                  <c:v>1.7695326574490111</c:v>
                </c:pt>
                <c:pt idx="39">
                  <c:v>1.7277957428863437</c:v>
                </c:pt>
                <c:pt idx="40">
                  <c:v>1.7642353928707335</c:v>
                </c:pt>
                <c:pt idx="41">
                  <c:v>1.871610911830244</c:v>
                </c:pt>
                <c:pt idx="42">
                  <c:v>1.725852346196437</c:v>
                </c:pt>
                <c:pt idx="43">
                  <c:v>1.9554541451807381</c:v>
                </c:pt>
                <c:pt idx="44">
                  <c:v>2.588793185535918</c:v>
                </c:pt>
                <c:pt idx="45">
                  <c:v>2.7506731761405416</c:v>
                </c:pt>
                <c:pt idx="46">
                  <c:v>2.6076059991516027</c:v>
                </c:pt>
                <c:pt idx="47">
                  <c:v>2.6592288790887446</c:v>
                </c:pt>
                <c:pt idx="48">
                  <c:v>2.524146399095049</c:v>
                </c:pt>
                <c:pt idx="49">
                  <c:v>2.6943908568982726</c:v>
                </c:pt>
                <c:pt idx="50">
                  <c:v>2.94790149579454</c:v>
                </c:pt>
                <c:pt idx="51">
                  <c:v>2.992879643708694</c:v>
                </c:pt>
              </c:numCache>
            </c:numRef>
          </c:xVal>
          <c:yVal>
            <c:numRef>
              <c:f>Sheet1!$B$58:$B$109</c:f>
              <c:numCache>
                <c:formatCode>General</c:formatCode>
                <c:ptCount val="52"/>
                <c:pt idx="0">
                  <c:v>0.0028872906714263215</c:v>
                </c:pt>
                <c:pt idx="1">
                  <c:v>0.003648405927256399</c:v>
                </c:pt>
                <c:pt idx="2">
                  <c:v>0.0032236006642571064</c:v>
                </c:pt>
                <c:pt idx="3">
                  <c:v>0.003693444136657433</c:v>
                </c:pt>
                <c:pt idx="4">
                  <c:v>0.0034915092842405966</c:v>
                </c:pt>
                <c:pt idx="5">
                  <c:v>0.0030559725498606046</c:v>
                </c:pt>
                <c:pt idx="6">
                  <c:v>0.0031833715650016383</c:v>
                </c:pt>
                <c:pt idx="7">
                  <c:v>0.003872466761326965</c:v>
                </c:pt>
                <c:pt idx="8">
                  <c:v>0.004765745289244079</c:v>
                </c:pt>
                <c:pt idx="9">
                  <c:v>0.0047113470471134705</c:v>
                </c:pt>
                <c:pt idx="10">
                  <c:v>0.004495114006514658</c:v>
                </c:pt>
                <c:pt idx="11">
                  <c:v>0.004389140271493213</c:v>
                </c:pt>
                <c:pt idx="12">
                  <c:v>0.004712182061579652</c:v>
                </c:pt>
                <c:pt idx="13">
                  <c:v>0.007159487776484284</c:v>
                </c:pt>
                <c:pt idx="14">
                  <c:v>0.007083147214600217</c:v>
                </c:pt>
                <c:pt idx="15">
                  <c:v>0.006742032143830019</c:v>
                </c:pt>
                <c:pt idx="16">
                  <c:v>0.006578419574809467</c:v>
                </c:pt>
                <c:pt idx="17">
                  <c:v>0.008692716684952317</c:v>
                </c:pt>
                <c:pt idx="18">
                  <c:v>0.0045393084798145645</c:v>
                </c:pt>
                <c:pt idx="19">
                  <c:v>0.004249565385358316</c:v>
                </c:pt>
                <c:pt idx="20">
                  <c:v>0.005283588527064913</c:v>
                </c:pt>
                <c:pt idx="21">
                  <c:v>0.006386028932620878</c:v>
                </c:pt>
                <c:pt idx="22">
                  <c:v>0.005594587561800677</c:v>
                </c:pt>
                <c:pt idx="23">
                  <c:v>0.006155108740254411</c:v>
                </c:pt>
                <c:pt idx="24">
                  <c:v>0.005360259286960858</c:v>
                </c:pt>
                <c:pt idx="25">
                  <c:v>0.005634910234569519</c:v>
                </c:pt>
                <c:pt idx="26">
                  <c:v>0.005329859054838328</c:v>
                </c:pt>
                <c:pt idx="27">
                  <c:v>0.005736747051949431</c:v>
                </c:pt>
                <c:pt idx="28">
                  <c:v>0.004617803104735705</c:v>
                </c:pt>
                <c:pt idx="29">
                  <c:v>0.005656517029726802</c:v>
                </c:pt>
                <c:pt idx="30">
                  <c:v>0.005475118627570264</c:v>
                </c:pt>
                <c:pt idx="31">
                  <c:v>0.005656108597285068</c:v>
                </c:pt>
                <c:pt idx="32">
                  <c:v>0.004734118683254431</c:v>
                </c:pt>
                <c:pt idx="33">
                  <c:v>0.00377132081940516</c:v>
                </c:pt>
                <c:pt idx="34">
                  <c:v>0.0037709000355745288</c:v>
                </c:pt>
                <c:pt idx="35">
                  <c:v>0.005075253762688134</c:v>
                </c:pt>
                <c:pt idx="36">
                  <c:v>0.006120461816664348</c:v>
                </c:pt>
                <c:pt idx="37">
                  <c:v>0.006313131313131313</c:v>
                </c:pt>
                <c:pt idx="38">
                  <c:v>0.007710981008139369</c:v>
                </c:pt>
                <c:pt idx="39">
                  <c:v>0.00704079519569269</c:v>
                </c:pt>
                <c:pt idx="40">
                  <c:v>0.006245662734212352</c:v>
                </c:pt>
                <c:pt idx="41">
                  <c:v>0.005339078306481828</c:v>
                </c:pt>
                <c:pt idx="42">
                  <c:v>0.006083893691962856</c:v>
                </c:pt>
                <c:pt idx="43">
                  <c:v>0.004629272432682663</c:v>
                </c:pt>
                <c:pt idx="44">
                  <c:v>0.0032489846922836613</c:v>
                </c:pt>
                <c:pt idx="45">
                  <c:v>0.002603690845971131</c:v>
                </c:pt>
                <c:pt idx="46">
                  <c:v>0.0028563729452977635</c:v>
                </c:pt>
                <c:pt idx="47">
                  <c:v>0.002651988991743808</c:v>
                </c:pt>
                <c:pt idx="48">
                  <c:v>0.002948885976408912</c:v>
                </c:pt>
                <c:pt idx="49">
                  <c:v>0.0026785714285714286</c:v>
                </c:pt>
                <c:pt idx="50">
                  <c:v>0.002142156609714551</c:v>
                </c:pt>
                <c:pt idx="51">
                  <c:v>0.0028273879647518966</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2.018991048109497</c:v>
                </c:pt>
              </c:numCache>
            </c:numRef>
          </c:xVal>
          <c:yVal>
            <c:numRef>
              <c:f>Sheet1!$B$112:$B$113</c:f>
              <c:numCache>
                <c:formatCode>General</c:formatCode>
                <c:ptCount val="2"/>
                <c:pt idx="0">
                  <c:v>0.005770929085095074</c:v>
                </c:pt>
                <c:pt idx="1">
                  <c:v>0.005770929085095074</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2.018991048109497</c:v>
                </c:pt>
                <c:pt idx="1">
                  <c:v>2.018991048109497</c:v>
                </c:pt>
              </c:numCache>
            </c:numRef>
          </c:xVal>
          <c:yVal>
            <c:numRef>
              <c:f>Sheet1!$B$116:$B$117</c:f>
              <c:numCache>
                <c:formatCode>General</c:formatCode>
                <c:ptCount val="2"/>
                <c:pt idx="0">
                  <c:v>0.00577092908509507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2.018991048109497</c:v>
                </c:pt>
              </c:numCache>
            </c:numRef>
          </c:xVal>
          <c:yVal>
            <c:numRef>
              <c:f>Sheet1!$B$120:$B$121</c:f>
              <c:numCache>
                <c:formatCode>General</c:formatCode>
                <c:ptCount val="2"/>
                <c:pt idx="0">
                  <c:v>0.005770929085095074</c:v>
                </c:pt>
                <c:pt idx="1">
                  <c:v>0.005770929085095074</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2.018991048109497</c:v>
                </c:pt>
                <c:pt idx="1">
                  <c:v>2.018991048109497</c:v>
                </c:pt>
              </c:numCache>
            </c:numRef>
          </c:xVal>
          <c:yVal>
            <c:numRef>
              <c:f>Sheet1!$B$124:$B$125</c:f>
              <c:numCache>
                <c:formatCode>General</c:formatCode>
                <c:ptCount val="2"/>
                <c:pt idx="0">
                  <c:v>0.00577092908509507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2.514759104123253</c:v>
                </c:pt>
              </c:numCache>
            </c:numRef>
          </c:xVal>
          <c:yVal>
            <c:numRef>
              <c:f>Sheet1!$B$128:$B$129</c:f>
              <c:numCache>
                <c:formatCode>General</c:formatCode>
                <c:ptCount val="2"/>
                <c:pt idx="0">
                  <c:v>0.0039459032165981185</c:v>
                </c:pt>
                <c:pt idx="1">
                  <c:v>0.0039459032165981185</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2.514759104123253</c:v>
                </c:pt>
                <c:pt idx="1">
                  <c:v>2.514759104123253</c:v>
                </c:pt>
              </c:numCache>
            </c:numRef>
          </c:xVal>
          <c:yVal>
            <c:numRef>
              <c:f>Sheet1!$B$132:$B$133</c:f>
              <c:numCache>
                <c:formatCode>General</c:formatCode>
                <c:ptCount val="2"/>
                <c:pt idx="0">
                  <c:v>0.003945903216598118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2.711448902339665</c:v>
                </c:pt>
                <c:pt idx="1">
                  <c:v>2.158060474905772</c:v>
                </c:pt>
                <c:pt idx="2">
                  <c:v>2.545420566013431</c:v>
                </c:pt>
                <c:pt idx="3">
                  <c:v>2.061531247582843</c:v>
                </c:pt>
                <c:pt idx="4">
                  <c:v>2.5242512455169064</c:v>
                </c:pt>
                <c:pt idx="5">
                  <c:v>2.7952176429383497</c:v>
                </c:pt>
                <c:pt idx="6">
                  <c:v>2.8304834489871973</c:v>
                </c:pt>
                <c:pt idx="7">
                  <c:v>2.5412132011421353</c:v>
                </c:pt>
                <c:pt idx="8">
                  <c:v>2.4237777945895997</c:v>
                </c:pt>
                <c:pt idx="9">
                  <c:v>2.4575458141083804</c:v>
                </c:pt>
                <c:pt idx="10">
                  <c:v>2.5790928774714414</c:v>
                </c:pt>
                <c:pt idx="11">
                  <c:v>2.644220768705237</c:v>
                </c:pt>
                <c:pt idx="12">
                  <c:v>2.4631372134217817</c:v>
                </c:pt>
                <c:pt idx="13">
                  <c:v>2.016658063868978</c:v>
                </c:pt>
                <c:pt idx="14">
                  <c:v>2.012079866170662</c:v>
                </c:pt>
                <c:pt idx="15">
                  <c:v>2.111667063298328</c:v>
                </c:pt>
                <c:pt idx="16">
                  <c:v>2.184569097228522</c:v>
                </c:pt>
                <c:pt idx="17">
                  <c:v>1.7104256243142686</c:v>
                </c:pt>
                <c:pt idx="18">
                  <c:v>2.4299527078506205</c:v>
                </c:pt>
                <c:pt idx="19">
                  <c:v>2.3984769529952374</c:v>
                </c:pt>
                <c:pt idx="20">
                  <c:v>2.1529848385627663</c:v>
                </c:pt>
                <c:pt idx="21">
                  <c:v>2.0065425217894295</c:v>
                </c:pt>
                <c:pt idx="22">
                  <c:v>2.1142972486299394</c:v>
                </c:pt>
                <c:pt idx="23">
                  <c:v>1.6417785239381952</c:v>
                </c:pt>
                <c:pt idx="24">
                  <c:v>2.1256210935257753</c:v>
                </c:pt>
                <c:pt idx="25">
                  <c:v>2.117269100429846</c:v>
                </c:pt>
                <c:pt idx="26">
                  <c:v>2.190399975470354</c:v>
                </c:pt>
                <c:pt idx="27">
                  <c:v>2.0833492473626887</c:v>
                </c:pt>
                <c:pt idx="28">
                  <c:v>2.152527466326854</c:v>
                </c:pt>
                <c:pt idx="29">
                  <c:v>1.9204058108557978</c:v>
                </c:pt>
                <c:pt idx="30">
                  <c:v>1.897208865992495</c:v>
                </c:pt>
                <c:pt idx="31">
                  <c:v>2.0216073433899022</c:v>
                </c:pt>
                <c:pt idx="32">
                  <c:v>2.27134712341451</c:v>
                </c:pt>
                <c:pt idx="33">
                  <c:v>2.566202556147828</c:v>
                </c:pt>
                <c:pt idx="34">
                  <c:v>2.674444606224045</c:v>
                </c:pt>
                <c:pt idx="35">
                  <c:v>2.1271168021360336</c:v>
                </c:pt>
                <c:pt idx="36">
                  <c:v>2.0752301458025264</c:v>
                </c:pt>
                <c:pt idx="37">
                  <c:v>2.0444154930053076</c:v>
                </c:pt>
                <c:pt idx="38">
                  <c:v>1.7695326574490111</c:v>
                </c:pt>
                <c:pt idx="39">
                  <c:v>1.7277957428863437</c:v>
                </c:pt>
                <c:pt idx="40">
                  <c:v>1.7642353928707335</c:v>
                </c:pt>
                <c:pt idx="41">
                  <c:v>1.871610911830244</c:v>
                </c:pt>
                <c:pt idx="42">
                  <c:v>1.725852346196437</c:v>
                </c:pt>
                <c:pt idx="43">
                  <c:v>1.9554541451807381</c:v>
                </c:pt>
                <c:pt idx="44">
                  <c:v>2.588793185535918</c:v>
                </c:pt>
                <c:pt idx="45">
                  <c:v>2.7506731761405416</c:v>
                </c:pt>
                <c:pt idx="46">
                  <c:v>2.6076059991516027</c:v>
                </c:pt>
                <c:pt idx="47">
                  <c:v>2.6592288790887446</c:v>
                </c:pt>
                <c:pt idx="48">
                  <c:v>2.524146399095049</c:v>
                </c:pt>
                <c:pt idx="49">
                  <c:v>2.6943908568982726</c:v>
                </c:pt>
                <c:pt idx="50">
                  <c:v>2.94790149579454</c:v>
                </c:pt>
                <c:pt idx="51">
                  <c:v>2.992879643708694</c:v>
                </c:pt>
                <c:pt idx="52">
                  <c:v>2.018991048109497</c:v>
                </c:pt>
                <c:pt idx="53">
                  <c:v>2.018991048109497</c:v>
                </c:pt>
                <c:pt idx="54">
                  <c:v>2.514759104123253</c:v>
                </c:pt>
              </c:numCache>
            </c:numRef>
          </c:xVal>
          <c:yVal>
            <c:numRef>
              <c:f>Sheet1!$B$136:$B$190</c:f>
              <c:numCache>
                <c:formatCode>General</c:formatCode>
                <c:ptCount val="55"/>
                <c:pt idx="0">
                  <c:v>0.0032218469458075733</c:v>
                </c:pt>
                <c:pt idx="1">
                  <c:v>0.005258985448667633</c:v>
                </c:pt>
                <c:pt idx="2">
                  <c:v>0.003833031964736026</c:v>
                </c:pt>
                <c:pt idx="3">
                  <c:v>0.005614329716603848</c:v>
                </c:pt>
                <c:pt idx="4">
                  <c:v>0.003910960659527908</c:v>
                </c:pt>
                <c:pt idx="5">
                  <c:v>0.0029134766974433478</c:v>
                </c:pt>
                <c:pt idx="6">
                  <c:v>0.002783655892065041</c:v>
                </c:pt>
                <c:pt idx="7">
                  <c:v>0.003848520154495688</c:v>
                </c:pt>
                <c:pt idx="8">
                  <c:v>0.004280824439203149</c:v>
                </c:pt>
                <c:pt idx="9">
                  <c:v>0.004156517299196583</c:v>
                </c:pt>
                <c:pt idx="10">
                  <c:v>0.003709077146111628</c:v>
                </c:pt>
                <c:pt idx="11">
                  <c:v>0.0034693277616554517</c:v>
                </c:pt>
                <c:pt idx="12">
                  <c:v>0.004135934189284049</c:v>
                </c:pt>
                <c:pt idx="13">
                  <c:v>0.0057795172878606525</c:v>
                </c:pt>
                <c:pt idx="14">
                  <c:v>0.005796370590789651</c:v>
                </c:pt>
                <c:pt idx="15">
                  <c:v>0.005429769296647268</c:v>
                </c:pt>
                <c:pt idx="16">
                  <c:v>0.005161401667521612</c:v>
                </c:pt>
                <c:pt idx="17">
                  <c:v>0.0069068229243996245</c:v>
                </c:pt>
                <c:pt idx="18">
                  <c:v>0.004258093292449363</c:v>
                </c:pt>
                <c:pt idx="19">
                  <c:v>0.00437396212696731</c:v>
                </c:pt>
                <c:pt idx="20">
                  <c:v>0.0052776699272513265</c:v>
                </c:pt>
                <c:pt idx="21">
                  <c:v>0.0058167547131951595</c:v>
                </c:pt>
                <c:pt idx="22">
                  <c:v>0.005420087034527099</c:v>
                </c:pt>
                <c:pt idx="23">
                  <c:v>0.007159527253498562</c:v>
                </c:pt>
                <c:pt idx="24">
                  <c:v>0.005378401593896017</c:v>
                </c:pt>
                <c:pt idx="25">
                  <c:v>0.005409147026702112</c:v>
                </c:pt>
                <c:pt idx="26">
                  <c:v>0.005139936985603695</c:v>
                </c:pt>
                <c:pt idx="27">
                  <c:v>0.005534013097745343</c:v>
                </c:pt>
                <c:pt idx="28">
                  <c:v>0.005279353610078301</c:v>
                </c:pt>
                <c:pt idx="29">
                  <c:v>0.006133841955453383</c:v>
                </c:pt>
                <c:pt idx="30">
                  <c:v>0.006219234759471499</c:v>
                </c:pt>
                <c:pt idx="31">
                  <c:v>0.005761297955157503</c:v>
                </c:pt>
                <c:pt idx="32">
                  <c:v>0.004841953609734403</c:v>
                </c:pt>
                <c:pt idx="33">
                  <c:v>0.003756529113989486</c:v>
                </c:pt>
                <c:pt idx="34">
                  <c:v>0.0033580674966021042</c:v>
                </c:pt>
                <c:pt idx="35">
                  <c:v>0.00537289557778154</c:v>
                </c:pt>
                <c:pt idx="36">
                  <c:v>0.005563901208115727</c:v>
                </c:pt>
                <c:pt idx="37">
                  <c:v>0.0056773363877355215</c:v>
                </c:pt>
                <c:pt idx="38">
                  <c:v>0.006689237577436449</c:v>
                </c:pt>
                <c:pt idx="39">
                  <c:v>0.006842879886222075</c:v>
                </c:pt>
                <c:pt idx="40">
                  <c:v>0.006708737915891819</c:v>
                </c:pt>
                <c:pt idx="41">
                  <c:v>0.006313466180717832</c:v>
                </c:pt>
                <c:pt idx="42">
                  <c:v>0.006850033935759573</c:v>
                </c:pt>
                <c:pt idx="43">
                  <c:v>0.006004821708959384</c:v>
                </c:pt>
                <c:pt idx="44">
                  <c:v>0.0036733682840029962</c:v>
                </c:pt>
                <c:pt idx="45">
                  <c:v>0.0030774541930045952</c:v>
                </c:pt>
                <c:pt idx="46">
                  <c:v>0.003604114383733788</c:v>
                </c:pt>
                <c:pt idx="47">
                  <c:v>0.0034140797694645255</c:v>
                </c:pt>
                <c:pt idx="48">
                  <c:v>0.003911346621127869</c:v>
                </c:pt>
                <c:pt idx="49">
                  <c:v>0.003284641177543379</c:v>
                </c:pt>
                <c:pt idx="50">
                  <c:v>0.002351415512209182</c:v>
                </c:pt>
                <c:pt idx="51">
                  <c:v>0.002185841545785383</c:v>
                </c:pt>
                <c:pt idx="52">
                  <c:v>0.005770929085095074</c:v>
                </c:pt>
                <c:pt idx="53">
                  <c:v>0.005770929085095074</c:v>
                </c:pt>
                <c:pt idx="54">
                  <c:v>0.003945903216598118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Nive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4312600219427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4.203976962206247e-05</c:v>
                </c:pt>
                <c:pt idx="2">
                  <c:v>0.0</c:v>
                </c:pt>
                <c:pt idx="3">
                  <c:v>5.792400370713624e-05</c:v>
                </c:pt>
                <c:pt idx="4">
                  <c:v>5.8599472604746556e-05</c:v>
                </c:pt>
                <c:pt idx="5">
                  <c:v>0.00012399256044637322</c:v>
                </c:pt>
                <c:pt idx="6">
                  <c:v>0.0001052853232259423</c:v>
                </c:pt>
                <c:pt idx="7">
                  <c:v>0.0001488390553681286</c:v>
                </c:pt>
                <c:pt idx="8">
                  <c:v>0.00018857250612860644</c:v>
                </c:pt>
                <c:pt idx="9">
                  <c:v>0.0004276855085893506</c:v>
                </c:pt>
                <c:pt idx="10">
                  <c:v>0.0005043627376809402</c:v>
                </c:pt>
                <c:pt idx="11">
                  <c:v>0.00038242745829150535</c:v>
                </c:pt>
                <c:pt idx="12">
                  <c:v>0.000491664059357261</c:v>
                </c:pt>
                <c:pt idx="13">
                  <c:v>0.0004762317083730193</c:v>
                </c:pt>
                <c:pt idx="14">
                  <c:v>0.0004988662131519275</c:v>
                </c:pt>
                <c:pt idx="15">
                  <c:v>0.0004623422257154746</c:v>
                </c:pt>
                <c:pt idx="16">
                  <c:v>0.0004905327185323261</c:v>
                </c:pt>
                <c:pt idx="17">
                  <c:v>0.0007590797617657363</c:v>
                </c:pt>
                <c:pt idx="18">
                  <c:v>0.0008975989228812925</c:v>
                </c:pt>
                <c:pt idx="19">
                  <c:v>0.0005738880918220947</c:v>
                </c:pt>
                <c:pt idx="20">
                  <c:v>0.0008151287903488751</c:v>
                </c:pt>
                <c:pt idx="21">
                  <c:v>0.0008460887624028921</c:v>
                </c:pt>
                <c:pt idx="22">
                  <c:v>0.0012601865076031253</c:v>
                </c:pt>
                <c:pt idx="23">
                  <c:v>0.0011752722714095433</c:v>
                </c:pt>
                <c:pt idx="24">
                  <c:v>0.0010966916468652897</c:v>
                </c:pt>
                <c:pt idx="25">
                  <c:v>0.0015876165905933718</c:v>
                </c:pt>
                <c:pt idx="26">
                  <c:v>0.0020464545175483476</c:v>
                </c:pt>
                <c:pt idx="27">
                  <c:v>0.002740351678465403</c:v>
                </c:pt>
                <c:pt idx="28">
                  <c:v>0.00183452577508714</c:v>
                </c:pt>
                <c:pt idx="29">
                  <c:v>0.0017199239612564498</c:v>
                </c:pt>
                <c:pt idx="30">
                  <c:v>0.002339086949507985</c:v>
                </c:pt>
                <c:pt idx="31">
                  <c:v>0.0025218030892087844</c:v>
                </c:pt>
                <c:pt idx="32">
                  <c:v>0.0022651406771578447</c:v>
                </c:pt>
                <c:pt idx="33">
                  <c:v>0.002303030303030303</c:v>
                </c:pt>
                <c:pt idx="34">
                  <c:v>0.002541026998411858</c:v>
                </c:pt>
                <c:pt idx="35">
                  <c:v>0.002250442051117184</c:v>
                </c:pt>
                <c:pt idx="36">
                  <c:v>0.002062328139321723</c:v>
                </c:pt>
                <c:pt idx="37">
                  <c:v>0.003053886316619052</c:v>
                </c:pt>
                <c:pt idx="38">
                  <c:v>0.003924133420536298</c:v>
                </c:pt>
                <c:pt idx="39">
                  <c:v>0.0034831460674157304</c:v>
                </c:pt>
                <c:pt idx="40">
                  <c:v>0.0038394032470381746</c:v>
                </c:pt>
                <c:pt idx="41">
                  <c:v>0.0030076480192489474</c:v>
                </c:pt>
                <c:pt idx="42">
                  <c:v>0.0030077700726877767</c:v>
                </c:pt>
                <c:pt idx="43">
                  <c:v>0.0028936805750023335</c:v>
                </c:pt>
                <c:pt idx="44">
                  <c:v>0.003092570957322521</c:v>
                </c:pt>
                <c:pt idx="45">
                  <c:v>0.003928196227104554</c:v>
                </c:pt>
                <c:pt idx="46">
                  <c:v>0.004563468235859253</c:v>
                </c:pt>
                <c:pt idx="47">
                  <c:v>0.004353732019086762</c:v>
                </c:pt>
                <c:pt idx="48">
                  <c:v>0.003986093628244321</c:v>
                </c:pt>
                <c:pt idx="49">
                  <c:v>0.003114294612270321</c:v>
                </c:pt>
                <c:pt idx="50">
                  <c:v>0.004557186643006936</c:v>
                </c:pt>
                <c:pt idx="51">
                  <c:v>0.004130594692468737</c:v>
                </c:pt>
                <c:pt idx="52">
                  <c:v>0.003532182103610675</c:v>
                </c:pt>
                <c:pt idx="53">
                  <c:v>0.0029495044832468145</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28872906714263215</c:v>
                </c:pt>
                <c:pt idx="1">
                  <c:v>0.003648405927256399</c:v>
                </c:pt>
                <c:pt idx="2">
                  <c:v>0.0032236006642571064</c:v>
                </c:pt>
                <c:pt idx="3">
                  <c:v>0.003693444136657433</c:v>
                </c:pt>
                <c:pt idx="4">
                  <c:v>0.0034915092842405966</c:v>
                </c:pt>
                <c:pt idx="5">
                  <c:v>0.0030559725498606046</c:v>
                </c:pt>
                <c:pt idx="6">
                  <c:v>0.0031833715650016383</c:v>
                </c:pt>
                <c:pt idx="7">
                  <c:v>0.003872466761326965</c:v>
                </c:pt>
                <c:pt idx="8">
                  <c:v>0.004765745289244079</c:v>
                </c:pt>
                <c:pt idx="9">
                  <c:v>0.0047113470471134705</c:v>
                </c:pt>
                <c:pt idx="10">
                  <c:v>0.004495114006514658</c:v>
                </c:pt>
                <c:pt idx="11">
                  <c:v>0.004389140271493213</c:v>
                </c:pt>
                <c:pt idx="12">
                  <c:v>0.004712182061579652</c:v>
                </c:pt>
                <c:pt idx="13">
                  <c:v>0.007159487776484284</c:v>
                </c:pt>
                <c:pt idx="14">
                  <c:v>0.007083147214600217</c:v>
                </c:pt>
                <c:pt idx="15">
                  <c:v>0.006742032143830019</c:v>
                </c:pt>
                <c:pt idx="16">
                  <c:v>0.006578419574809467</c:v>
                </c:pt>
                <c:pt idx="17">
                  <c:v>0.008692716684952317</c:v>
                </c:pt>
                <c:pt idx="18">
                  <c:v>0.0045393084798145645</c:v>
                </c:pt>
                <c:pt idx="19">
                  <c:v>0.004249565385358316</c:v>
                </c:pt>
                <c:pt idx="20">
                  <c:v>0.005283588527064913</c:v>
                </c:pt>
                <c:pt idx="21">
                  <c:v>0.006386028932620878</c:v>
                </c:pt>
                <c:pt idx="22">
                  <c:v>0.005594587561800677</c:v>
                </c:pt>
                <c:pt idx="23">
                  <c:v>0.006155108740254411</c:v>
                </c:pt>
                <c:pt idx="24">
                  <c:v>0.005360259286960858</c:v>
                </c:pt>
                <c:pt idx="25">
                  <c:v>0.005634910234569519</c:v>
                </c:pt>
                <c:pt idx="26">
                  <c:v>0.005329859054838328</c:v>
                </c:pt>
                <c:pt idx="27">
                  <c:v>0.005736747051949431</c:v>
                </c:pt>
                <c:pt idx="28">
                  <c:v>0.004617803104735705</c:v>
                </c:pt>
                <c:pt idx="29">
                  <c:v>0.005656517029726802</c:v>
                </c:pt>
                <c:pt idx="30">
                  <c:v>0.005475118627570264</c:v>
                </c:pt>
                <c:pt idx="31">
                  <c:v>0.005656108597285068</c:v>
                </c:pt>
                <c:pt idx="32">
                  <c:v>0.004734118683254431</c:v>
                </c:pt>
                <c:pt idx="33">
                  <c:v>0.00377132081940516</c:v>
                </c:pt>
                <c:pt idx="34">
                  <c:v>0.0037709000355745288</c:v>
                </c:pt>
                <c:pt idx="35">
                  <c:v>0.005075253762688134</c:v>
                </c:pt>
                <c:pt idx="36">
                  <c:v>0.006120461816664348</c:v>
                </c:pt>
                <c:pt idx="37">
                  <c:v>0.006313131313131313</c:v>
                </c:pt>
                <c:pt idx="38">
                  <c:v>0.007710981008139369</c:v>
                </c:pt>
                <c:pt idx="39">
                  <c:v>0.00704079519569269</c:v>
                </c:pt>
                <c:pt idx="40">
                  <c:v>0.006245662734212352</c:v>
                </c:pt>
                <c:pt idx="41">
                  <c:v>0.005339078306481828</c:v>
                </c:pt>
                <c:pt idx="42">
                  <c:v>0.006083893691962856</c:v>
                </c:pt>
                <c:pt idx="43">
                  <c:v>0.004629272432682663</c:v>
                </c:pt>
                <c:pt idx="44">
                  <c:v>0.0032489846922836613</c:v>
                </c:pt>
                <c:pt idx="45">
                  <c:v>0.002603690845971131</c:v>
                </c:pt>
                <c:pt idx="46">
                  <c:v>0.0028563729452977635</c:v>
                </c:pt>
                <c:pt idx="47">
                  <c:v>0.002651988991743808</c:v>
                </c:pt>
                <c:pt idx="48">
                  <c:v>0.002948885976408912</c:v>
                </c:pt>
                <c:pt idx="49">
                  <c:v>0.0026785714285714286</c:v>
                </c:pt>
                <c:pt idx="50">
                  <c:v>0.002142156609714551</c:v>
                </c:pt>
                <c:pt idx="51">
                  <c:v>0.0028273879647518966</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509.5810830388136</c:v>
                </c:pt>
              </c:numCache>
            </c:numRef>
          </c:xVal>
          <c:yVal>
            <c:numRef>
              <c:f>Sheet1!$B$112:$B$113</c:f>
              <c:numCache>
                <c:formatCode>General</c:formatCode>
                <c:ptCount val="2"/>
                <c:pt idx="0">
                  <c:v>0.005770929085095074</c:v>
                </c:pt>
                <c:pt idx="1">
                  <c:v>0.005770929085095074</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509.5810830388136</c:v>
                </c:pt>
                <c:pt idx="1">
                  <c:v>3509.5810830388136</c:v>
                </c:pt>
              </c:numCache>
            </c:numRef>
          </c:xVal>
          <c:yVal>
            <c:numRef>
              <c:f>Sheet1!$B$116:$B$117</c:f>
              <c:numCache>
                <c:formatCode>General</c:formatCode>
                <c:ptCount val="2"/>
                <c:pt idx="0">
                  <c:v>0.00577092908509507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509.5810830388136</c:v>
                </c:pt>
              </c:numCache>
            </c:numRef>
          </c:xVal>
          <c:yVal>
            <c:numRef>
              <c:f>Sheet1!$B$120:$B$121</c:f>
              <c:numCache>
                <c:formatCode>General</c:formatCode>
                <c:ptCount val="2"/>
                <c:pt idx="0">
                  <c:v>0.005770929085095074</c:v>
                </c:pt>
                <c:pt idx="1">
                  <c:v>0.005770929085095074</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509.5810830388136</c:v>
                </c:pt>
                <c:pt idx="1">
                  <c:v>3509.5810830388136</c:v>
                </c:pt>
              </c:numCache>
            </c:numRef>
          </c:xVal>
          <c:yVal>
            <c:numRef>
              <c:f>Sheet1!$B$124:$B$125</c:f>
              <c:numCache>
                <c:formatCode>General</c:formatCode>
                <c:ptCount val="2"/>
                <c:pt idx="0">
                  <c:v>0.00577092908509507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73.154318813441</c:v>
                </c:pt>
              </c:numCache>
            </c:numRef>
          </c:xVal>
          <c:yVal>
            <c:numRef>
              <c:f>Sheet1!$B$128:$B$129</c:f>
              <c:numCache>
                <c:formatCode>General</c:formatCode>
                <c:ptCount val="2"/>
                <c:pt idx="0">
                  <c:v>0.0039459032165981185</c:v>
                </c:pt>
                <c:pt idx="1">
                  <c:v>0.0039459032165981185</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73.154318813441</c:v>
                </c:pt>
                <c:pt idx="1">
                  <c:v>4273.154318813441</c:v>
                </c:pt>
              </c:numCache>
            </c:numRef>
          </c:xVal>
          <c:yVal>
            <c:numRef>
              <c:f>Sheet1!$B$132:$B$133</c:f>
              <c:numCache>
                <c:formatCode>General</c:formatCode>
                <c:ptCount val="2"/>
                <c:pt idx="0">
                  <c:v>0.003945903216598118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509.5810830388136</c:v>
                </c:pt>
                <c:pt idx="53">
                  <c:v>3509.5810830388136</c:v>
                </c:pt>
                <c:pt idx="54">
                  <c:v>4273.154318813441</c:v>
                </c:pt>
              </c:numCache>
            </c:numRef>
          </c:xVal>
          <c:yVal>
            <c:numRef>
              <c:f>Sheet1!$B$136:$B$190</c:f>
              <c:numCache>
                <c:formatCode>General</c:formatCode>
                <c:ptCount val="55"/>
                <c:pt idx="0">
                  <c:v>0.0035697641009092528</c:v>
                </c:pt>
                <c:pt idx="1">
                  <c:v>0.005263077003153271</c:v>
                </c:pt>
                <c:pt idx="2">
                  <c:v>0.0037502104176978905</c:v>
                </c:pt>
                <c:pt idx="3">
                  <c:v>0.005457520296250606</c:v>
                </c:pt>
                <c:pt idx="4">
                  <c:v>0.003465678290523806</c:v>
                </c:pt>
                <c:pt idx="5">
                  <c:v>0.0025891913244068202</c:v>
                </c:pt>
                <c:pt idx="6">
                  <c:v>0.0033808347971470056</c:v>
                </c:pt>
                <c:pt idx="7">
                  <c:v>0.004127283156261227</c:v>
                </c:pt>
                <c:pt idx="8">
                  <c:v>0.004426611035312186</c:v>
                </c:pt>
                <c:pt idx="9">
                  <c:v>0.004422981649614164</c:v>
                </c:pt>
                <c:pt idx="10">
                  <c:v>0.0039345985078768336</c:v>
                </c:pt>
                <c:pt idx="11">
                  <c:v>0.004617154381986432</c:v>
                </c:pt>
                <c:pt idx="12">
                  <c:v>0.005064735914734017</c:v>
                </c:pt>
                <c:pt idx="13">
                  <c:v>0.006019179743334345</c:v>
                </c:pt>
                <c:pt idx="14">
                  <c:v>0.006044338544608311</c:v>
                </c:pt>
                <c:pt idx="15">
                  <c:v>0.005510491879621113</c:v>
                </c:pt>
                <c:pt idx="16">
                  <c:v>0.0052092423501906935</c:v>
                </c:pt>
                <c:pt idx="17">
                  <c:v>0.007178098405837518</c:v>
                </c:pt>
                <c:pt idx="18">
                  <c:v>0.004376695688683239</c:v>
                </c:pt>
                <c:pt idx="19">
                  <c:v>0.003786080268736171</c:v>
                </c:pt>
                <c:pt idx="20">
                  <c:v>0.004333567783282637</c:v>
                </c:pt>
                <c:pt idx="21">
                  <c:v>0.005145230598576701</c:v>
                </c:pt>
                <c:pt idx="22">
                  <c:v>0.0046170042829269415</c:v>
                </c:pt>
                <c:pt idx="23">
                  <c:v>0.0068153629955903855</c:v>
                </c:pt>
                <c:pt idx="24">
                  <c:v>0.004635791761543537</c:v>
                </c:pt>
                <c:pt idx="25">
                  <c:v>0.0053136943257977</c:v>
                </c:pt>
                <c:pt idx="26">
                  <c:v>0.004700113510737401</c:v>
                </c:pt>
                <c:pt idx="27">
                  <c:v>0.005366839909351821</c:v>
                </c:pt>
                <c:pt idx="28">
                  <c:v>0.005004939365370291</c:v>
                </c:pt>
                <c:pt idx="29">
                  <c:v>0.0054246837368747275</c:v>
                </c:pt>
                <c:pt idx="30">
                  <c:v>0.005603629063068464</c:v>
                </c:pt>
                <c:pt idx="31">
                  <c:v>0.005238419886474638</c:v>
                </c:pt>
                <c:pt idx="32">
                  <c:v>0.004077061158209787</c:v>
                </c:pt>
                <c:pt idx="33">
                  <c:v>0.003084745281403423</c:v>
                </c:pt>
                <c:pt idx="34">
                  <c:v>0.0029597870973441624</c:v>
                </c:pt>
                <c:pt idx="35">
                  <c:v>0.004791011875888184</c:v>
                </c:pt>
                <c:pt idx="36">
                  <c:v>0.004062735780455644</c:v>
                </c:pt>
                <c:pt idx="37">
                  <c:v>0.004247043801868779</c:v>
                </c:pt>
                <c:pt idx="38">
                  <c:v>0.005576195830822989</c:v>
                </c:pt>
                <c:pt idx="39">
                  <c:v>0.006552338055946808</c:v>
                </c:pt>
                <c:pt idx="40">
                  <c:v>0.006449175067963738</c:v>
                </c:pt>
                <c:pt idx="41">
                  <c:v>0.0059615142181973935</c:v>
                </c:pt>
                <c:pt idx="42">
                  <c:v>0.0063355039507601504</c:v>
                </c:pt>
                <c:pt idx="43">
                  <c:v>0.0059188717446277215</c:v>
                </c:pt>
                <c:pt idx="44">
                  <c:v>0.004425213775595977</c:v>
                </c:pt>
                <c:pt idx="45">
                  <c:v>0.004188595992939293</c:v>
                </c:pt>
                <c:pt idx="46">
                  <c:v>0.004347675660807264</c:v>
                </c:pt>
                <c:pt idx="47">
                  <c:v>0.004438364652110734</c:v>
                </c:pt>
                <c:pt idx="48">
                  <c:v>0.005516575910766531</c:v>
                </c:pt>
                <c:pt idx="49">
                  <c:v>0.005083653893488322</c:v>
                </c:pt>
                <c:pt idx="50">
                  <c:v>0.004355384490370536</c:v>
                </c:pt>
                <c:pt idx="51">
                  <c:v>0.004089320283783527</c:v>
                </c:pt>
                <c:pt idx="52">
                  <c:v>0.005770929085095074</c:v>
                </c:pt>
                <c:pt idx="53">
                  <c:v>0.005770929085095074</c:v>
                </c:pt>
                <c:pt idx="54">
                  <c:v>0.003945903216598118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4312600219427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5.144673171769954</c:v>
                </c:pt>
                <c:pt idx="2">
                  <c:v>0.0</c:v>
                </c:pt>
                <c:pt idx="3">
                  <c:v>7.61704583763242</c:v>
                </c:pt>
                <c:pt idx="4">
                  <c:v>8.369467241669758</c:v>
                </c:pt>
                <c:pt idx="5">
                  <c:v>6.005009009125164</c:v>
                </c:pt>
                <c:pt idx="6">
                  <c:v>4.027401731290816</c:v>
                </c:pt>
                <c:pt idx="7">
                  <c:v>4.745544281452008</c:v>
                </c:pt>
                <c:pt idx="8">
                  <c:v>5.722545952357121</c:v>
                </c:pt>
                <c:pt idx="9">
                  <c:v>4.888070988964017</c:v>
                </c:pt>
                <c:pt idx="10">
                  <c:v>4.640551324823364</c:v>
                </c:pt>
                <c:pt idx="11">
                  <c:v>5.652177956711443</c:v>
                </c:pt>
                <c:pt idx="12">
                  <c:v>4.643494677559957</c:v>
                </c:pt>
                <c:pt idx="13">
                  <c:v>4.514173641170566</c:v>
                </c:pt>
                <c:pt idx="14">
                  <c:v>4.235811646318063</c:v>
                </c:pt>
                <c:pt idx="15">
                  <c:v>4.083971427429236</c:v>
                </c:pt>
                <c:pt idx="16">
                  <c:v>3.877291025277163</c:v>
                </c:pt>
                <c:pt idx="17">
                  <c:v>3.1417981491440874</c:v>
                </c:pt>
                <c:pt idx="18">
                  <c:v>2.388658910664228</c:v>
                </c:pt>
                <c:pt idx="19">
                  <c:v>3.01071078911706</c:v>
                </c:pt>
                <c:pt idx="20">
                  <c:v>3.007355549146935</c:v>
                </c:pt>
                <c:pt idx="21">
                  <c:v>2.798925617521082</c:v>
                </c:pt>
                <c:pt idx="22">
                  <c:v>1.3674574141172293</c:v>
                </c:pt>
                <c:pt idx="23">
                  <c:v>1.905744450184749</c:v>
                </c:pt>
                <c:pt idx="24">
                  <c:v>7.19670240346323</c:v>
                </c:pt>
                <c:pt idx="25">
                  <c:v>8.10300647511314</c:v>
                </c:pt>
                <c:pt idx="26">
                  <c:v>8.266385134186542</c:v>
                </c:pt>
                <c:pt idx="27">
                  <c:v>6.082083747760554</c:v>
                </c:pt>
                <c:pt idx="28">
                  <c:v>8.770840805735013</c:v>
                </c:pt>
                <c:pt idx="29">
                  <c:v>8.082644586230813</c:v>
                </c:pt>
                <c:pt idx="30">
                  <c:v>7.005822947015306</c:v>
                </c:pt>
                <c:pt idx="31">
                  <c:v>7.517709049435777</c:v>
                </c:pt>
                <c:pt idx="32">
                  <c:v>8.317805756620386</c:v>
                </c:pt>
                <c:pt idx="33">
                  <c:v>7.663449589990142</c:v>
                </c:pt>
                <c:pt idx="34">
                  <c:v>6.8086255614459406</c:v>
                </c:pt>
                <c:pt idx="35">
                  <c:v>9.38857771127825</c:v>
                </c:pt>
                <c:pt idx="36">
                  <c:v>9.582801932657437</c:v>
                </c:pt>
                <c:pt idx="37">
                  <c:v>8.427124935300029</c:v>
                </c:pt>
                <c:pt idx="38">
                  <c:v>7.776956070059221</c:v>
                </c:pt>
                <c:pt idx="39">
                  <c:v>8.709647860851595</c:v>
                </c:pt>
                <c:pt idx="40">
                  <c:v>7.573964437997909</c:v>
                </c:pt>
                <c:pt idx="41">
                  <c:v>8.660927833940807</c:v>
                </c:pt>
                <c:pt idx="42">
                  <c:v>7.806815024726344</c:v>
                </c:pt>
                <c:pt idx="43">
                  <c:v>8.201635721744177</c:v>
                </c:pt>
                <c:pt idx="44">
                  <c:v>8.163049862226934</c:v>
                </c:pt>
                <c:pt idx="45">
                  <c:v>6.177244148915684</c:v>
                </c:pt>
                <c:pt idx="46">
                  <c:v>6.333752344488934</c:v>
                </c:pt>
                <c:pt idx="47">
                  <c:v>6.3894637023741385</c:v>
                </c:pt>
                <c:pt idx="48">
                  <c:v>7.708535167063764</c:v>
                </c:pt>
                <c:pt idx="49">
                  <c:v>7.464319118673972</c:v>
                </c:pt>
                <c:pt idx="50">
                  <c:v>6.179527463342679</c:v>
                </c:pt>
                <c:pt idx="51">
                  <c:v>6.337102633445866</c:v>
                </c:pt>
                <c:pt idx="52">
                  <c:v>6.767634552125045</c:v>
                </c:pt>
                <c:pt idx="53">
                  <c:v>7.011554048497029</c:v>
                </c:pt>
              </c:numCache>
            </c:numRef>
          </c:xVal>
          <c:yVal>
            <c:numRef>
              <c:f>Sheet1!$B$2:$B$55</c:f>
              <c:numCache>
                <c:formatCode>General</c:formatCode>
                <c:ptCount val="54"/>
                <c:pt idx="0">
                  <c:v>0.0</c:v>
                </c:pt>
                <c:pt idx="1">
                  <c:v>4.203976962206247e-05</c:v>
                </c:pt>
                <c:pt idx="2">
                  <c:v>0.0</c:v>
                </c:pt>
                <c:pt idx="3">
                  <c:v>5.792400370713624e-05</c:v>
                </c:pt>
                <c:pt idx="4">
                  <c:v>5.8599472604746556e-05</c:v>
                </c:pt>
                <c:pt idx="5">
                  <c:v>0.00012399256044637322</c:v>
                </c:pt>
                <c:pt idx="6">
                  <c:v>0.0001052853232259423</c:v>
                </c:pt>
                <c:pt idx="7">
                  <c:v>0.0001488390553681286</c:v>
                </c:pt>
                <c:pt idx="8">
                  <c:v>0.00018857250612860644</c:v>
                </c:pt>
                <c:pt idx="9">
                  <c:v>0.0004276855085893506</c:v>
                </c:pt>
                <c:pt idx="10">
                  <c:v>0.0005043627376809402</c:v>
                </c:pt>
                <c:pt idx="11">
                  <c:v>0.00038242745829150535</c:v>
                </c:pt>
                <c:pt idx="12">
                  <c:v>0.000491664059357261</c:v>
                </c:pt>
                <c:pt idx="13">
                  <c:v>0.0004762317083730193</c:v>
                </c:pt>
                <c:pt idx="14">
                  <c:v>0.0004988662131519275</c:v>
                </c:pt>
                <c:pt idx="15">
                  <c:v>0.0004623422257154746</c:v>
                </c:pt>
                <c:pt idx="16">
                  <c:v>0.0004905327185323261</c:v>
                </c:pt>
                <c:pt idx="17">
                  <c:v>0.0007590797617657363</c:v>
                </c:pt>
                <c:pt idx="18">
                  <c:v>0.0008975989228812925</c:v>
                </c:pt>
                <c:pt idx="19">
                  <c:v>0.0005738880918220947</c:v>
                </c:pt>
                <c:pt idx="20">
                  <c:v>0.0008151287903488751</c:v>
                </c:pt>
                <c:pt idx="21">
                  <c:v>0.0008460887624028921</c:v>
                </c:pt>
                <c:pt idx="22">
                  <c:v>0.0012601865076031253</c:v>
                </c:pt>
                <c:pt idx="23">
                  <c:v>0.0011752722714095433</c:v>
                </c:pt>
                <c:pt idx="24">
                  <c:v>0.0010966916468652897</c:v>
                </c:pt>
                <c:pt idx="25">
                  <c:v>0.0015876165905933718</c:v>
                </c:pt>
                <c:pt idx="26">
                  <c:v>0.0020464545175483476</c:v>
                </c:pt>
                <c:pt idx="27">
                  <c:v>0.002740351678465403</c:v>
                </c:pt>
                <c:pt idx="28">
                  <c:v>0.00183452577508714</c:v>
                </c:pt>
                <c:pt idx="29">
                  <c:v>0.0017199239612564498</c:v>
                </c:pt>
                <c:pt idx="30">
                  <c:v>0.002339086949507985</c:v>
                </c:pt>
                <c:pt idx="31">
                  <c:v>0.0025218030892087844</c:v>
                </c:pt>
                <c:pt idx="32">
                  <c:v>0.0022651406771578447</c:v>
                </c:pt>
                <c:pt idx="33">
                  <c:v>0.002303030303030303</c:v>
                </c:pt>
                <c:pt idx="34">
                  <c:v>0.002541026998411858</c:v>
                </c:pt>
                <c:pt idx="35">
                  <c:v>0.002250442051117184</c:v>
                </c:pt>
                <c:pt idx="36">
                  <c:v>0.002062328139321723</c:v>
                </c:pt>
                <c:pt idx="37">
                  <c:v>0.003053886316619052</c:v>
                </c:pt>
                <c:pt idx="38">
                  <c:v>0.003924133420536298</c:v>
                </c:pt>
                <c:pt idx="39">
                  <c:v>0.0034831460674157304</c:v>
                </c:pt>
                <c:pt idx="40">
                  <c:v>0.0038394032470381746</c:v>
                </c:pt>
                <c:pt idx="41">
                  <c:v>0.0030076480192489474</c:v>
                </c:pt>
                <c:pt idx="42">
                  <c:v>0.0030077700726877767</c:v>
                </c:pt>
                <c:pt idx="43">
                  <c:v>0.0028936805750023335</c:v>
                </c:pt>
                <c:pt idx="44">
                  <c:v>0.003092570957322521</c:v>
                </c:pt>
                <c:pt idx="45">
                  <c:v>0.003928196227104554</c:v>
                </c:pt>
                <c:pt idx="46">
                  <c:v>0.004563468235859253</c:v>
                </c:pt>
                <c:pt idx="47">
                  <c:v>0.004353732019086762</c:v>
                </c:pt>
                <c:pt idx="48">
                  <c:v>0.003986093628244321</c:v>
                </c:pt>
                <c:pt idx="49">
                  <c:v>0.003114294612270321</c:v>
                </c:pt>
                <c:pt idx="50">
                  <c:v>0.004557186643006936</c:v>
                </c:pt>
                <c:pt idx="51">
                  <c:v>0.004130594692468737</c:v>
                </c:pt>
                <c:pt idx="52">
                  <c:v>0.003532182103610675</c:v>
                </c:pt>
                <c:pt idx="53">
                  <c:v>0.0029495044832468145</c:v>
                </c:pt>
              </c:numCache>
            </c:numRef>
          </c:yVal>
          <c:smooth val="0"/>
          <c:extLst>
            <c:ext xmlns:c16="http://schemas.microsoft.com/office/drawing/2014/chart" uri="{C3380CC4-5D6E-409C-BE32-E72D297353CC}">
              <c16:uniqueId val="{00000000-096C-4121-9522-6AB7243CCAAE}"/>
            </c:ext>
          </c:extLst>
        </c:ser>
        <c:ser>
          <c:idx val="1"/>
          <c:order val="1"/>
          <c:tx>
            <c:strRef>
              <c:f>Sheet1!$B$5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58:$A$109</c:f>
              <c:numCache>
                <c:formatCode>General</c:formatCode>
                <c:ptCount val="52"/>
                <c:pt idx="0">
                  <c:v>6.9219623661919725</c:v>
                </c:pt>
                <c:pt idx="1">
                  <c:v>5.7790207004144305</c:v>
                </c:pt>
                <c:pt idx="2">
                  <c:v>6.6011672237578525</c:v>
                </c:pt>
                <c:pt idx="3">
                  <c:v>5.507066278867144</c:v>
                </c:pt>
                <c:pt idx="4">
                  <c:v>6.627614374776503</c:v>
                </c:pt>
                <c:pt idx="5">
                  <c:v>6.962156495545881</c:v>
                </c:pt>
                <c:pt idx="6">
                  <c:v>7.097177416943367</c:v>
                </c:pt>
                <c:pt idx="7">
                  <c:v>6.077275532274407</c:v>
                </c:pt>
                <c:pt idx="8">
                  <c:v>5.8771624604571855</c:v>
                </c:pt>
                <c:pt idx="9">
                  <c:v>6.138343955571194</c:v>
                </c:pt>
                <c:pt idx="10">
                  <c:v>6.29285686966755</c:v>
                </c:pt>
                <c:pt idx="11">
                  <c:v>7.150155421446798</c:v>
                </c:pt>
                <c:pt idx="12">
                  <c:v>6.486519451995386</c:v>
                </c:pt>
                <c:pt idx="13">
                  <c:v>5.192710325772984</c:v>
                </c:pt>
                <c:pt idx="14">
                  <c:v>5.158312944319457</c:v>
                </c:pt>
                <c:pt idx="15">
                  <c:v>5.710662810472453</c:v>
                </c:pt>
                <c:pt idx="16">
                  <c:v>5.563171795800521</c:v>
                </c:pt>
                <c:pt idx="17">
                  <c:v>4.58093595643458</c:v>
                </c:pt>
                <c:pt idx="18">
                  <c:v>6.197262215810327</c:v>
                </c:pt>
                <c:pt idx="19">
                  <c:v>6.58770073598197</c:v>
                </c:pt>
                <c:pt idx="20">
                  <c:v>5.967493603134656</c:v>
                </c:pt>
                <c:pt idx="21">
                  <c:v>5.584293745222865</c:v>
                </c:pt>
                <c:pt idx="22">
                  <c:v>5.808509458898732</c:v>
                </c:pt>
                <c:pt idx="23">
                  <c:v>4.4390764709876604</c:v>
                </c:pt>
                <c:pt idx="24">
                  <c:v>5.7115640594947</c:v>
                </c:pt>
                <c:pt idx="25">
                  <c:v>5.450838256572435</c:v>
                </c:pt>
                <c:pt idx="26">
                  <c:v>5.64873291024929</c:v>
                </c:pt>
                <c:pt idx="27">
                  <c:v>5.263246292840756</c:v>
                </c:pt>
                <c:pt idx="28">
                  <c:v>5.528197160805648</c:v>
                </c:pt>
                <c:pt idx="29">
                  <c:v>5.265260617265524</c:v>
                </c:pt>
                <c:pt idx="30">
                  <c:v>5.092691225723457</c:v>
                </c:pt>
                <c:pt idx="31">
                  <c:v>5.238645557005909</c:v>
                </c:pt>
                <c:pt idx="32">
                  <c:v>5.846423993755356</c:v>
                </c:pt>
                <c:pt idx="33">
                  <c:v>6.322667726663758</c:v>
                </c:pt>
                <c:pt idx="34">
                  <c:v>6.580569261166569</c:v>
                </c:pt>
                <c:pt idx="35">
                  <c:v>5.21230787807284</c:v>
                </c:pt>
                <c:pt idx="36">
                  <c:v>5.603137634100532</c:v>
                </c:pt>
                <c:pt idx="37">
                  <c:v>5.5301343356087305</c:v>
                </c:pt>
                <c:pt idx="38">
                  <c:v>4.787655373076702</c:v>
                </c:pt>
                <c:pt idx="39">
                  <c:v>4.529637689853497</c:v>
                </c:pt>
                <c:pt idx="40">
                  <c:v>4.388666585581739</c:v>
                </c:pt>
                <c:pt idx="41">
                  <c:v>4.595424086731301</c:v>
                </c:pt>
                <c:pt idx="42">
                  <c:v>4.4720854007967965</c:v>
                </c:pt>
                <c:pt idx="43">
                  <c:v>4.828406776299868</c:v>
                </c:pt>
                <c:pt idx="44">
                  <c:v>5.8218902302086715</c:v>
                </c:pt>
                <c:pt idx="45">
                  <c:v>6.330852558829867</c:v>
                </c:pt>
                <c:pt idx="46">
                  <c:v>6.105861233610897</c:v>
                </c:pt>
                <c:pt idx="47">
                  <c:v>6.268772578590217</c:v>
                </c:pt>
                <c:pt idx="48">
                  <c:v>5.486304947824724</c:v>
                </c:pt>
                <c:pt idx="49">
                  <c:v>5.920172251295432</c:v>
                </c:pt>
                <c:pt idx="50">
                  <c:v>6.602290293815611</c:v>
                </c:pt>
                <c:pt idx="51">
                  <c:v>7.0032821002116865</c:v>
                </c:pt>
              </c:numCache>
            </c:numRef>
          </c:xVal>
          <c:yVal>
            <c:numRef>
              <c:f>Sheet1!$B$58:$B$109</c:f>
              <c:numCache>
                <c:formatCode>General</c:formatCode>
                <c:ptCount val="52"/>
                <c:pt idx="0">
                  <c:v>0.0028872906714263215</c:v>
                </c:pt>
                <c:pt idx="1">
                  <c:v>0.003648405927256399</c:v>
                </c:pt>
                <c:pt idx="2">
                  <c:v>0.0032236006642571064</c:v>
                </c:pt>
                <c:pt idx="3">
                  <c:v>0.003693444136657433</c:v>
                </c:pt>
                <c:pt idx="4">
                  <c:v>0.0034915092842405966</c:v>
                </c:pt>
                <c:pt idx="5">
                  <c:v>0.0030559725498606046</c:v>
                </c:pt>
                <c:pt idx="6">
                  <c:v>0.0031833715650016383</c:v>
                </c:pt>
                <c:pt idx="7">
                  <c:v>0.003872466761326965</c:v>
                </c:pt>
                <c:pt idx="8">
                  <c:v>0.004765745289244079</c:v>
                </c:pt>
                <c:pt idx="9">
                  <c:v>0.0047113470471134705</c:v>
                </c:pt>
                <c:pt idx="10">
                  <c:v>0.004495114006514658</c:v>
                </c:pt>
                <c:pt idx="11">
                  <c:v>0.004389140271493213</c:v>
                </c:pt>
                <c:pt idx="12">
                  <c:v>0.004712182061579652</c:v>
                </c:pt>
                <c:pt idx="13">
                  <c:v>0.007159487776484284</c:v>
                </c:pt>
                <c:pt idx="14">
                  <c:v>0.007083147214600217</c:v>
                </c:pt>
                <c:pt idx="15">
                  <c:v>0.006742032143830019</c:v>
                </c:pt>
                <c:pt idx="16">
                  <c:v>0.006578419574809467</c:v>
                </c:pt>
                <c:pt idx="17">
                  <c:v>0.008692716684952317</c:v>
                </c:pt>
                <c:pt idx="18">
                  <c:v>0.0045393084798145645</c:v>
                </c:pt>
                <c:pt idx="19">
                  <c:v>0.004249565385358316</c:v>
                </c:pt>
                <c:pt idx="20">
                  <c:v>0.005283588527064913</c:v>
                </c:pt>
                <c:pt idx="21">
                  <c:v>0.006386028932620878</c:v>
                </c:pt>
                <c:pt idx="22">
                  <c:v>0.005594587561800677</c:v>
                </c:pt>
                <c:pt idx="23">
                  <c:v>0.006155108740254411</c:v>
                </c:pt>
                <c:pt idx="24">
                  <c:v>0.005360259286960858</c:v>
                </c:pt>
                <c:pt idx="25">
                  <c:v>0.005634910234569519</c:v>
                </c:pt>
                <c:pt idx="26">
                  <c:v>0.005329859054838328</c:v>
                </c:pt>
                <c:pt idx="27">
                  <c:v>0.005736747051949431</c:v>
                </c:pt>
                <c:pt idx="28">
                  <c:v>0.004617803104735705</c:v>
                </c:pt>
                <c:pt idx="29">
                  <c:v>0.005656517029726802</c:v>
                </c:pt>
                <c:pt idx="30">
                  <c:v>0.005475118627570264</c:v>
                </c:pt>
                <c:pt idx="31">
                  <c:v>0.005656108597285068</c:v>
                </c:pt>
                <c:pt idx="32">
                  <c:v>0.004734118683254431</c:v>
                </c:pt>
                <c:pt idx="33">
                  <c:v>0.00377132081940516</c:v>
                </c:pt>
                <c:pt idx="34">
                  <c:v>0.0037709000355745288</c:v>
                </c:pt>
                <c:pt idx="35">
                  <c:v>0.005075253762688134</c:v>
                </c:pt>
                <c:pt idx="36">
                  <c:v>0.006120461816664348</c:v>
                </c:pt>
                <c:pt idx="37">
                  <c:v>0.006313131313131313</c:v>
                </c:pt>
                <c:pt idx="38">
                  <c:v>0.007710981008139369</c:v>
                </c:pt>
                <c:pt idx="39">
                  <c:v>0.00704079519569269</c:v>
                </c:pt>
                <c:pt idx="40">
                  <c:v>0.006245662734212352</c:v>
                </c:pt>
                <c:pt idx="41">
                  <c:v>0.005339078306481828</c:v>
                </c:pt>
                <c:pt idx="42">
                  <c:v>0.006083893691962856</c:v>
                </c:pt>
                <c:pt idx="43">
                  <c:v>0.004629272432682663</c:v>
                </c:pt>
                <c:pt idx="44">
                  <c:v>0.0032489846922836613</c:v>
                </c:pt>
                <c:pt idx="45">
                  <c:v>0.002603690845971131</c:v>
                </c:pt>
                <c:pt idx="46">
                  <c:v>0.0028563729452977635</c:v>
                </c:pt>
                <c:pt idx="47">
                  <c:v>0.002651988991743808</c:v>
                </c:pt>
                <c:pt idx="48">
                  <c:v>0.002948885976408912</c:v>
                </c:pt>
                <c:pt idx="49">
                  <c:v>0.0026785714285714286</c:v>
                </c:pt>
                <c:pt idx="50">
                  <c:v>0.002142156609714551</c:v>
                </c:pt>
                <c:pt idx="51">
                  <c:v>0.0028273879647518966</c:v>
                </c:pt>
              </c:numCache>
            </c:numRef>
          </c:yVal>
          <c:smooth val="0"/>
          <c:extLst>
            <c:ext xmlns:c16="http://schemas.microsoft.com/office/drawing/2014/chart" uri="{C3380CC4-5D6E-409C-BE32-E72D297353CC}">
              <c16:uniqueId val="{00000002-096C-4121-9522-6AB7243CCAAE}"/>
            </c:ext>
          </c:extLst>
        </c:ser>
        <c:ser>
          <c:idx val="2"/>
          <c:order val="2"/>
          <c:tx>
            <c:strRef>
              <c:f>Sheet1!$B$11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2:$A$113</c:f>
              <c:numCache>
                <c:formatCode>General</c:formatCode>
                <c:ptCount val="2"/>
                <c:pt idx="0">
                  <c:v>0</c:v>
                </c:pt>
                <c:pt idx="1">
                  <c:v>5.128350042940401</c:v>
                </c:pt>
              </c:numCache>
            </c:numRef>
          </c:xVal>
          <c:yVal>
            <c:numRef>
              <c:f>Sheet1!$B$112:$B$113</c:f>
              <c:numCache>
                <c:formatCode>General</c:formatCode>
                <c:ptCount val="2"/>
                <c:pt idx="0">
                  <c:v>0.005770929085095074</c:v>
                </c:pt>
                <c:pt idx="1">
                  <c:v>0.005770929085095074</c:v>
                </c:pt>
              </c:numCache>
            </c:numRef>
          </c:yVal>
          <c:smooth val="0"/>
          <c:extLst>
            <c:ext xmlns:c16="http://schemas.microsoft.com/office/drawing/2014/chart" uri="{C3380CC4-5D6E-409C-BE32-E72D297353CC}">
              <c16:uniqueId val="{00000005-096C-4121-9522-6AB7243CCAAE}"/>
            </c:ext>
          </c:extLst>
        </c:ser>
        <c:ser>
          <c:idx val="3"/>
          <c:order val="3"/>
          <c:tx>
            <c:strRef>
              <c:f>Sheet1!$B$11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6:$A$117</c:f>
              <c:numCache>
                <c:formatCode>General</c:formatCode>
                <c:ptCount val="2"/>
                <c:pt idx="0">
                  <c:v>5.128350042940401</c:v>
                </c:pt>
                <c:pt idx="1">
                  <c:v>5.128350042940401</c:v>
                </c:pt>
              </c:numCache>
            </c:numRef>
          </c:xVal>
          <c:yVal>
            <c:numRef>
              <c:f>Sheet1!$B$116:$B$117</c:f>
              <c:numCache>
                <c:formatCode>General</c:formatCode>
                <c:ptCount val="2"/>
                <c:pt idx="0">
                  <c:v>0.00577092908509507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1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0:$A$121</c:f>
              <c:numCache>
                <c:formatCode>General</c:formatCode>
                <c:ptCount val="2"/>
                <c:pt idx="0">
                  <c:v>0</c:v>
                </c:pt>
                <c:pt idx="1">
                  <c:v>5.128350042940401</c:v>
                </c:pt>
              </c:numCache>
            </c:numRef>
          </c:xVal>
          <c:yVal>
            <c:numRef>
              <c:f>Sheet1!$B$120:$B$121</c:f>
              <c:numCache>
                <c:formatCode>General</c:formatCode>
                <c:ptCount val="2"/>
                <c:pt idx="0">
                  <c:v>0.005770929085095074</c:v>
                </c:pt>
                <c:pt idx="1">
                  <c:v>0.005770929085095074</c:v>
                </c:pt>
              </c:numCache>
            </c:numRef>
          </c:yVal>
          <c:smooth val="0"/>
          <c:extLst>
            <c:ext xmlns:c16="http://schemas.microsoft.com/office/drawing/2014/chart" uri="{C3380CC4-5D6E-409C-BE32-E72D297353CC}">
              <c16:uniqueId val="{0000000D-096C-4121-9522-6AB7243CCAAE}"/>
            </c:ext>
          </c:extLst>
        </c:ser>
        <c:ser>
          <c:idx val="5"/>
          <c:order val="5"/>
          <c:tx>
            <c:strRef>
              <c:f>Sheet1!$B$12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4:$A$125</c:f>
              <c:numCache>
                <c:formatCode>General</c:formatCode>
                <c:ptCount val="2"/>
                <c:pt idx="0">
                  <c:v>5.128350042940401</c:v>
                </c:pt>
                <c:pt idx="1">
                  <c:v>5.128350042940401</c:v>
                </c:pt>
              </c:numCache>
            </c:numRef>
          </c:xVal>
          <c:yVal>
            <c:numRef>
              <c:f>Sheet1!$B$124:$B$125</c:f>
              <c:numCache>
                <c:formatCode>General</c:formatCode>
                <c:ptCount val="2"/>
                <c:pt idx="0">
                  <c:v>0.00577092908509507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2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28:$A$129</c:f>
              <c:numCache>
                <c:formatCode>General</c:formatCode>
                <c:ptCount val="2"/>
                <c:pt idx="0">
                  <c:v>0</c:v>
                </c:pt>
                <c:pt idx="1">
                  <c:v>6.3541944332753335</c:v>
                </c:pt>
              </c:numCache>
            </c:numRef>
          </c:xVal>
          <c:yVal>
            <c:numRef>
              <c:f>Sheet1!$B$128:$B$129</c:f>
              <c:numCache>
                <c:formatCode>General</c:formatCode>
                <c:ptCount val="2"/>
                <c:pt idx="0">
                  <c:v>0.0039459032165981185</c:v>
                </c:pt>
                <c:pt idx="1">
                  <c:v>0.0039459032165981185</c:v>
                </c:pt>
              </c:numCache>
            </c:numRef>
          </c:yVal>
          <c:smooth val="0"/>
          <c:extLst>
            <c:ext xmlns:c16="http://schemas.microsoft.com/office/drawing/2014/chart" uri="{C3380CC4-5D6E-409C-BE32-E72D297353CC}">
              <c16:uniqueId val="{00000015-096C-4121-9522-6AB7243CCAAE}"/>
            </c:ext>
          </c:extLst>
        </c:ser>
        <c:ser>
          <c:idx val="7"/>
          <c:order val="7"/>
          <c:tx>
            <c:strRef>
              <c:f>Sheet1!$B$13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2:$A$133</c:f>
              <c:numCache>
                <c:formatCode>General</c:formatCode>
                <c:ptCount val="2"/>
                <c:pt idx="0">
                  <c:v>6.3541944332753335</c:v>
                </c:pt>
                <c:pt idx="1">
                  <c:v>6.3541944332753335</c:v>
                </c:pt>
              </c:numCache>
            </c:numRef>
          </c:xVal>
          <c:yVal>
            <c:numRef>
              <c:f>Sheet1!$B$132:$B$133</c:f>
              <c:numCache>
                <c:formatCode>General</c:formatCode>
                <c:ptCount val="2"/>
                <c:pt idx="0">
                  <c:v>0.003945903216598118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36:$A$190</c:f>
              <c:numCache>
                <c:formatCode>General</c:formatCode>
                <c:ptCount val="55"/>
                <c:pt idx="0">
                  <c:v>6.9219623661919725</c:v>
                </c:pt>
                <c:pt idx="1">
                  <c:v>5.7790207004144305</c:v>
                </c:pt>
                <c:pt idx="2">
                  <c:v>6.6011672237578525</c:v>
                </c:pt>
                <c:pt idx="3">
                  <c:v>5.507066278867144</c:v>
                </c:pt>
                <c:pt idx="4">
                  <c:v>6.627614374776503</c:v>
                </c:pt>
                <c:pt idx="5">
                  <c:v>6.962156495545881</c:v>
                </c:pt>
                <c:pt idx="6">
                  <c:v>7.097177416943367</c:v>
                </c:pt>
                <c:pt idx="7">
                  <c:v>6.077275532274407</c:v>
                </c:pt>
                <c:pt idx="8">
                  <c:v>5.8771624604571855</c:v>
                </c:pt>
                <c:pt idx="9">
                  <c:v>6.138343955571194</c:v>
                </c:pt>
                <c:pt idx="10">
                  <c:v>6.29285686966755</c:v>
                </c:pt>
                <c:pt idx="11">
                  <c:v>7.150155421446798</c:v>
                </c:pt>
                <c:pt idx="12">
                  <c:v>6.486519451995386</c:v>
                </c:pt>
                <c:pt idx="13">
                  <c:v>5.192710325772984</c:v>
                </c:pt>
                <c:pt idx="14">
                  <c:v>5.158312944319457</c:v>
                </c:pt>
                <c:pt idx="15">
                  <c:v>5.710662810472453</c:v>
                </c:pt>
                <c:pt idx="16">
                  <c:v>5.563171795800521</c:v>
                </c:pt>
                <c:pt idx="17">
                  <c:v>4.58093595643458</c:v>
                </c:pt>
                <c:pt idx="18">
                  <c:v>6.197262215810327</c:v>
                </c:pt>
                <c:pt idx="19">
                  <c:v>6.58770073598197</c:v>
                </c:pt>
                <c:pt idx="20">
                  <c:v>5.967493603134656</c:v>
                </c:pt>
                <c:pt idx="21">
                  <c:v>5.584293745222865</c:v>
                </c:pt>
                <c:pt idx="22">
                  <c:v>5.808509458898732</c:v>
                </c:pt>
                <c:pt idx="23">
                  <c:v>4.4390764709876604</c:v>
                </c:pt>
                <c:pt idx="24">
                  <c:v>5.7115640594947</c:v>
                </c:pt>
                <c:pt idx="25">
                  <c:v>5.450838256572435</c:v>
                </c:pt>
                <c:pt idx="26">
                  <c:v>5.64873291024929</c:v>
                </c:pt>
                <c:pt idx="27">
                  <c:v>5.263246292840756</c:v>
                </c:pt>
                <c:pt idx="28">
                  <c:v>5.528197160805648</c:v>
                </c:pt>
                <c:pt idx="29">
                  <c:v>5.265260617265524</c:v>
                </c:pt>
                <c:pt idx="30">
                  <c:v>5.092691225723457</c:v>
                </c:pt>
                <c:pt idx="31">
                  <c:v>5.238645557005909</c:v>
                </c:pt>
                <c:pt idx="32">
                  <c:v>5.846423993755356</c:v>
                </c:pt>
                <c:pt idx="33">
                  <c:v>6.322667726663758</c:v>
                </c:pt>
                <c:pt idx="34">
                  <c:v>6.580569261166569</c:v>
                </c:pt>
                <c:pt idx="35">
                  <c:v>5.21230787807284</c:v>
                </c:pt>
                <c:pt idx="36">
                  <c:v>5.603137634100532</c:v>
                </c:pt>
                <c:pt idx="37">
                  <c:v>5.5301343356087305</c:v>
                </c:pt>
                <c:pt idx="38">
                  <c:v>4.787655373076702</c:v>
                </c:pt>
                <c:pt idx="39">
                  <c:v>4.529637689853497</c:v>
                </c:pt>
                <c:pt idx="40">
                  <c:v>4.388666585581739</c:v>
                </c:pt>
                <c:pt idx="41">
                  <c:v>4.595424086731301</c:v>
                </c:pt>
                <c:pt idx="42">
                  <c:v>4.4720854007967965</c:v>
                </c:pt>
                <c:pt idx="43">
                  <c:v>4.828406776299868</c:v>
                </c:pt>
                <c:pt idx="44">
                  <c:v>5.8218902302086715</c:v>
                </c:pt>
                <c:pt idx="45">
                  <c:v>6.330852558829867</c:v>
                </c:pt>
                <c:pt idx="46">
                  <c:v>6.105861233610897</c:v>
                </c:pt>
                <c:pt idx="47">
                  <c:v>6.268772578590217</c:v>
                </c:pt>
                <c:pt idx="48">
                  <c:v>5.486304947824724</c:v>
                </c:pt>
                <c:pt idx="49">
                  <c:v>5.920172251295432</c:v>
                </c:pt>
                <c:pt idx="50">
                  <c:v>6.602290293815611</c:v>
                </c:pt>
                <c:pt idx="51">
                  <c:v>7.0032821002116865</c:v>
                </c:pt>
                <c:pt idx="52">
                  <c:v>5.128350042940401</c:v>
                </c:pt>
                <c:pt idx="53">
                  <c:v>5.128350042940401</c:v>
                </c:pt>
                <c:pt idx="54">
                  <c:v>6.3541944332753335</c:v>
                </c:pt>
              </c:numCache>
            </c:numRef>
          </c:xVal>
          <c:yVal>
            <c:numRef>
              <c:f>Sheet1!$B$136:$B$190</c:f>
              <c:numCache>
                <c:formatCode>General</c:formatCode>
                <c:ptCount val="55"/>
                <c:pt idx="0">
                  <c:v>0.003100615533230088</c:v>
                </c:pt>
                <c:pt idx="1">
                  <c:v>0.00480221658689816</c:v>
                </c:pt>
                <c:pt idx="2">
                  <c:v>0.0035782123946640834</c:v>
                </c:pt>
                <c:pt idx="3">
                  <c:v>0.005207099831695908</c:v>
                </c:pt>
                <c:pt idx="4">
                  <c:v>0.003538838119154373</c:v>
                </c:pt>
                <c:pt idx="5">
                  <c:v>0.0030407748826459195</c:v>
                </c:pt>
                <c:pt idx="6">
                  <c:v>0.002839756975086396</c:v>
                </c:pt>
                <c:pt idx="7">
                  <c:v>0.004358177532805867</c:v>
                </c:pt>
                <c:pt idx="8">
                  <c:v>0.004656104036014836</c:v>
                </c:pt>
                <c:pt idx="9">
                  <c:v>0.0042672594251376445</c:v>
                </c:pt>
                <c:pt idx="10">
                  <c:v>0.004037222017889199</c:v>
                </c:pt>
                <c:pt idx="11">
                  <c:v>0.002760883808604236</c:v>
                </c:pt>
                <c:pt idx="12">
                  <c:v>0.0037488989441818964</c:v>
                </c:pt>
                <c:pt idx="13">
                  <c:v>0.005675110087186905</c:v>
                </c:pt>
                <c:pt idx="14">
                  <c:v>0.005726320592742256</c:v>
                </c:pt>
                <c:pt idx="15">
                  <c:v>0.004903987185551297</c:v>
                </c:pt>
                <c:pt idx="16">
                  <c:v>0.0051235704534353995</c:v>
                </c:pt>
                <c:pt idx="17">
                  <c:v>0.006585914148884279</c:v>
                </c:pt>
                <c:pt idx="18">
                  <c:v>0.004179542460479614</c:v>
                </c:pt>
                <c:pt idx="19">
                  <c:v>0.003598261177970151</c:v>
                </c:pt>
                <c:pt idx="20">
                  <c:v>0.004521619860521542</c:v>
                </c:pt>
                <c:pt idx="21">
                  <c:v>0.005092124289148323</c:v>
                </c:pt>
                <c:pt idx="22">
                  <c:v>0.004758313994131874</c:v>
                </c:pt>
                <c:pt idx="23">
                  <c:v>0.00679711324778586</c:v>
                </c:pt>
                <c:pt idx="24">
                  <c:v>0.004902645414285282</c:v>
                </c:pt>
                <c:pt idx="25">
                  <c:v>0.005290811594813108</c:v>
                </c:pt>
                <c:pt idx="26">
                  <c:v>0.004996187852154525</c:v>
                </c:pt>
                <c:pt idx="27">
                  <c:v>0.005570096787315328</c:v>
                </c:pt>
                <c:pt idx="28">
                  <c:v>0.005175640368760821</c:v>
                </c:pt>
                <c:pt idx="29">
                  <c:v>0.0055670978796140465</c:v>
                </c:pt>
                <c:pt idx="30">
                  <c:v>0.0058240176046282476</c:v>
                </c:pt>
                <c:pt idx="31">
                  <c:v>0.0056067221368593986</c:v>
                </c:pt>
                <c:pt idx="32">
                  <c:v>0.004701867182896346</c:v>
                </c:pt>
                <c:pt idx="33">
                  <c:v>0.003992839887816983</c:v>
                </c:pt>
                <c:pt idx="34">
                  <c:v>0.003608878452170089</c:v>
                </c:pt>
                <c:pt idx="35">
                  <c:v>0.005645933431333638</c:v>
                </c:pt>
                <c:pt idx="36">
                  <c:v>0.005064069680475337</c:v>
                </c:pt>
                <c:pt idx="37">
                  <c:v>0.005172756320707659</c:v>
                </c:pt>
                <c:pt idx="38">
                  <c:v>0.006278152180181715</c:v>
                </c:pt>
                <c:pt idx="39">
                  <c:v>0.006662286536976661</c:v>
                </c:pt>
                <c:pt idx="40">
                  <c:v>0.006872163022144771</c:v>
                </c:pt>
                <c:pt idx="41">
                  <c:v>0.006564344353577351</c:v>
                </c:pt>
                <c:pt idx="42">
                  <c:v>0.006747969856285236</c:v>
                </c:pt>
                <c:pt idx="43">
                  <c:v>0.006217481865379762</c:v>
                </c:pt>
                <c:pt idx="44">
                  <c:v>0.004738392824712966</c:v>
                </c:pt>
                <c:pt idx="45">
                  <c:v>0.003980654384868786</c:v>
                </c:pt>
                <c:pt idx="46">
                  <c:v>0.0043156194032263305</c:v>
                </c:pt>
                <c:pt idx="47">
                  <c:v>0.00407307848922202</c:v>
                </c:pt>
                <c:pt idx="48">
                  <c:v>0.005238009110651365</c:v>
                </c:pt>
                <c:pt idx="49">
                  <c:v>0.004592071454475677</c:v>
                </c:pt>
                <c:pt idx="50">
                  <c:v>0.003576540378277907</c:v>
                </c:pt>
                <c:pt idx="51">
                  <c:v>0.002979547460173343</c:v>
                </c:pt>
                <c:pt idx="52">
                  <c:v>0.005770929085095074</c:v>
                </c:pt>
                <c:pt idx="53">
                  <c:v>0.005770929085095074</c:v>
                </c:pt>
                <c:pt idx="54">
                  <c:v>0.003945903216598118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Caribbean Beach</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43126002194278"/>
          <c:min val="0.0"/>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5</c:f>
              <c:numCache>
                <c:formatCode>General</c:formatCode>
                <c:ptCount val="54"/>
                <c:pt idx="0">
                  <c:v>0.0</c:v>
                </c:pt>
                <c:pt idx="1">
                  <c:v>2509.0</c:v>
                </c:pt>
                <c:pt idx="2">
                  <c:v>0.0</c:v>
                </c:pt>
                <c:pt idx="3">
                  <c:v>3579.0</c:v>
                </c:pt>
                <c:pt idx="4">
                  <c:v>3910.0</c:v>
                </c:pt>
                <c:pt idx="5">
                  <c:v>2794.5</c:v>
                </c:pt>
                <c:pt idx="6">
                  <c:v>1883.0</c:v>
                </c:pt>
                <c:pt idx="7">
                  <c:v>2225.3333</c:v>
                </c:pt>
                <c:pt idx="8">
                  <c:v>2584.1667</c:v>
                </c:pt>
                <c:pt idx="9">
                  <c:v>2200.1667</c:v>
                </c:pt>
                <c:pt idx="10">
                  <c:v>2194.1</c:v>
                </c:pt>
                <c:pt idx="11">
                  <c:v>2613.25</c:v>
                </c:pt>
                <c:pt idx="12">
                  <c:v>2121.6364</c:v>
                </c:pt>
                <c:pt idx="13">
                  <c:v>2118.0909</c:v>
                </c:pt>
                <c:pt idx="14">
                  <c:v>1996.7273</c:v>
                </c:pt>
                <c:pt idx="15">
                  <c:v>1930.8</c:v>
                </c:pt>
                <c:pt idx="16">
                  <c:v>1827.9</c:v>
                </c:pt>
                <c:pt idx="17">
                  <c:v>1509.5385</c:v>
                </c:pt>
                <c:pt idx="18">
                  <c:v>1157.1667</c:v>
                </c:pt>
                <c:pt idx="19">
                  <c:v>1445.625</c:v>
                </c:pt>
                <c:pt idx="20">
                  <c:v>1451.6</c:v>
                </c:pt>
                <c:pt idx="21">
                  <c:v>1349.7273</c:v>
                </c:pt>
                <c:pt idx="22">
                  <c:v>665.9333</c:v>
                </c:pt>
                <c:pt idx="23">
                  <c:v>921.4667</c:v>
                </c:pt>
                <c:pt idx="24">
                  <c:v>3429.9167</c:v>
                </c:pt>
                <c:pt idx="25">
                  <c:v>3722.5625</c:v>
                </c:pt>
                <c:pt idx="26">
                  <c:v>3680.05</c:v>
                </c:pt>
                <c:pt idx="27">
                  <c:v>2765.7917</c:v>
                </c:pt>
                <c:pt idx="28">
                  <c:v>3885.65</c:v>
                </c:pt>
                <c:pt idx="29">
                  <c:v>3669.5263</c:v>
                </c:pt>
                <c:pt idx="30">
                  <c:v>3158.9655</c:v>
                </c:pt>
                <c:pt idx="31">
                  <c:v>3438.125</c:v>
                </c:pt>
                <c:pt idx="32">
                  <c:v>3786.7368</c:v>
                </c:pt>
                <c:pt idx="33">
                  <c:v>3478.8421</c:v>
                </c:pt>
                <c:pt idx="34">
                  <c:v>3171.5</c:v>
                </c:pt>
                <c:pt idx="35">
                  <c:v>4403.6429</c:v>
                </c:pt>
                <c:pt idx="36">
                  <c:v>4465.2963</c:v>
                </c:pt>
                <c:pt idx="37">
                  <c:v>3984.0</c:v>
                </c:pt>
                <c:pt idx="38">
                  <c:v>3689.1111</c:v>
                </c:pt>
                <c:pt idx="39">
                  <c:v>4140.4194</c:v>
                </c:pt>
                <c:pt idx="40">
                  <c:v>3567.4857</c:v>
                </c:pt>
                <c:pt idx="41">
                  <c:v>4099.6857</c:v>
                </c:pt>
                <c:pt idx="42">
                  <c:v>4158.7778</c:v>
                </c:pt>
                <c:pt idx="43">
                  <c:v>4568.2258</c:v>
                </c:pt>
                <c:pt idx="44">
                  <c:v>4487.8889</c:v>
                </c:pt>
                <c:pt idx="45">
                  <c:v>3416.4651</c:v>
                </c:pt>
                <c:pt idx="46">
                  <c:v>3466.0877</c:v>
                </c:pt>
                <c:pt idx="47">
                  <c:v>3331.936</c:v>
                </c:pt>
                <c:pt idx="48">
                  <c:v>3461.1955</c:v>
                </c:pt>
                <c:pt idx="49">
                  <c:v>3917.6143</c:v>
                </c:pt>
                <c:pt idx="50">
                  <c:v>3650.1239</c:v>
                </c:pt>
                <c:pt idx="51">
                  <c:v>3849.9863</c:v>
                </c:pt>
                <c:pt idx="52">
                  <c:v>4082.5972</c:v>
                </c:pt>
                <c:pt idx="53">
                  <c:v>4271.18</c:v>
                </c:pt>
              </c:numCache>
            </c:numRef>
          </c:xVal>
          <c:yVal>
            <c:numRef>
              <c:f>Sheet1!$B$2:$B$55</c:f>
              <c:numCache>
                <c:formatCode>General</c:formatCode>
                <c:ptCount val="54"/>
                <c:pt idx="0">
                  <c:v>0.0</c:v>
                </c:pt>
                <c:pt idx="1">
                  <c:v>4.203976962206247e-05</c:v>
                </c:pt>
                <c:pt idx="2">
                  <c:v>0.0</c:v>
                </c:pt>
                <c:pt idx="3">
                  <c:v>5.792400370713624e-05</c:v>
                </c:pt>
                <c:pt idx="4">
                  <c:v>5.8599472604746556e-05</c:v>
                </c:pt>
                <c:pt idx="5">
                  <c:v>0.00012399256044637322</c:v>
                </c:pt>
                <c:pt idx="6">
                  <c:v>0.0001052853232259423</c:v>
                </c:pt>
                <c:pt idx="7">
                  <c:v>0.0001488390553681286</c:v>
                </c:pt>
                <c:pt idx="8">
                  <c:v>0.00018857250612860644</c:v>
                </c:pt>
                <c:pt idx="9">
                  <c:v>0.0004276855085893506</c:v>
                </c:pt>
                <c:pt idx="10">
                  <c:v>0.0005043627376809402</c:v>
                </c:pt>
                <c:pt idx="11">
                  <c:v>0.00038242745829150535</c:v>
                </c:pt>
                <c:pt idx="12">
                  <c:v>0.000491664059357261</c:v>
                </c:pt>
                <c:pt idx="13">
                  <c:v>0.0004762317083730193</c:v>
                </c:pt>
                <c:pt idx="14">
                  <c:v>0.0004988662131519275</c:v>
                </c:pt>
                <c:pt idx="15">
                  <c:v>0.0004623422257154746</c:v>
                </c:pt>
                <c:pt idx="16">
                  <c:v>0.0004905327185323261</c:v>
                </c:pt>
                <c:pt idx="17">
                  <c:v>0.0007590797617657363</c:v>
                </c:pt>
                <c:pt idx="18">
                  <c:v>0.0008975989228812925</c:v>
                </c:pt>
                <c:pt idx="19">
                  <c:v>0.0005738880918220947</c:v>
                </c:pt>
                <c:pt idx="20">
                  <c:v>0.0008151287903488751</c:v>
                </c:pt>
                <c:pt idx="21">
                  <c:v>0.0008460887624028921</c:v>
                </c:pt>
                <c:pt idx="22">
                  <c:v>0.0012601865076031253</c:v>
                </c:pt>
                <c:pt idx="23">
                  <c:v>0.0011752722714095433</c:v>
                </c:pt>
                <c:pt idx="24">
                  <c:v>0.0010966916468652897</c:v>
                </c:pt>
                <c:pt idx="25">
                  <c:v>0.0015876165905933718</c:v>
                </c:pt>
                <c:pt idx="26">
                  <c:v>0.0020464545175483476</c:v>
                </c:pt>
                <c:pt idx="27">
                  <c:v>0.002740351678465403</c:v>
                </c:pt>
                <c:pt idx="28">
                  <c:v>0.00183452577508714</c:v>
                </c:pt>
                <c:pt idx="29">
                  <c:v>0.0017199239612564498</c:v>
                </c:pt>
                <c:pt idx="30">
                  <c:v>0.002339086949507985</c:v>
                </c:pt>
                <c:pt idx="31">
                  <c:v>0.0025218030892087844</c:v>
                </c:pt>
                <c:pt idx="32">
                  <c:v>0.0022651406771578447</c:v>
                </c:pt>
                <c:pt idx="33">
                  <c:v>0.002303030303030303</c:v>
                </c:pt>
                <c:pt idx="34">
                  <c:v>0.002541026998411858</c:v>
                </c:pt>
                <c:pt idx="35">
                  <c:v>0.002250442051117184</c:v>
                </c:pt>
                <c:pt idx="36">
                  <c:v>0.002062328139321723</c:v>
                </c:pt>
                <c:pt idx="37">
                  <c:v>0.003053886316619052</c:v>
                </c:pt>
                <c:pt idx="38">
                  <c:v>0.003924133420536298</c:v>
                </c:pt>
                <c:pt idx="39">
                  <c:v>0.0034831460674157304</c:v>
                </c:pt>
                <c:pt idx="40">
                  <c:v>0.0038394032470381746</c:v>
                </c:pt>
                <c:pt idx="41">
                  <c:v>0.0030076480192489474</c:v>
                </c:pt>
                <c:pt idx="42">
                  <c:v>0.0030077700726877767</c:v>
                </c:pt>
                <c:pt idx="43">
                  <c:v>0.0028936805750023335</c:v>
                </c:pt>
                <c:pt idx="44">
                  <c:v>0.003092570957322521</c:v>
                </c:pt>
                <c:pt idx="45">
                  <c:v>0.003928196227104554</c:v>
                </c:pt>
                <c:pt idx="46">
                  <c:v>0.004563468235859253</c:v>
                </c:pt>
                <c:pt idx="47">
                  <c:v>0.004353732019086762</c:v>
                </c:pt>
                <c:pt idx="48">
                  <c:v>0.003986093628244321</c:v>
                </c:pt>
                <c:pt idx="49">
                  <c:v>0.003114294612270321</c:v>
                </c:pt>
                <c:pt idx="50">
                  <c:v>0.004557186643006936</c:v>
                </c:pt>
                <c:pt idx="51">
                  <c:v>0.004130594692468737</c:v>
                </c:pt>
                <c:pt idx="52">
                  <c:v>0.003532182103610675</c:v>
                </c:pt>
                <c:pt idx="53">
                  <c:v>0.0029495044832468145</c:v>
                </c:pt>
              </c:numCache>
            </c:numRef>
          </c:yVal>
          <c:smooth val="0"/>
          <c:extLst>
            <c:ext xmlns:c16="http://schemas.microsoft.com/office/drawing/2014/chart" uri="{C3380CC4-5D6E-409C-BE32-E72D297353CC}">
              <c16:uniqueId val="{00000000-F32D-48B7-BC20-E66FC6253BAD}"/>
            </c:ext>
          </c:extLst>
        </c:ser>
        <c:ser>
          <c:idx val="1"/>
          <c:order val="1"/>
          <c:tx>
            <c:strRef>
              <c:f>Sheet1!$B$5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58:$A$109</c:f>
              <c:numCache>
                <c:formatCode>General</c:formatCode>
                <c:ptCount val="52"/>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numCache>
            </c:numRef>
          </c:xVal>
          <c:yVal>
            <c:numRef>
              <c:f>Sheet1!$B$58:$B$109</c:f>
              <c:numCache>
                <c:formatCode>General</c:formatCode>
                <c:ptCount val="52"/>
                <c:pt idx="0">
                  <c:v>0.0028872906714263215</c:v>
                </c:pt>
                <c:pt idx="1">
                  <c:v>0.003648405927256399</c:v>
                </c:pt>
                <c:pt idx="2">
                  <c:v>0.0032236006642571064</c:v>
                </c:pt>
                <c:pt idx="3">
                  <c:v>0.003693444136657433</c:v>
                </c:pt>
                <c:pt idx="4">
                  <c:v>0.0034915092842405966</c:v>
                </c:pt>
                <c:pt idx="5">
                  <c:v>0.0030559725498606046</c:v>
                </c:pt>
                <c:pt idx="6">
                  <c:v>0.0031833715650016383</c:v>
                </c:pt>
                <c:pt idx="7">
                  <c:v>0.003872466761326965</c:v>
                </c:pt>
                <c:pt idx="8">
                  <c:v>0.004765745289244079</c:v>
                </c:pt>
                <c:pt idx="9">
                  <c:v>0.0047113470471134705</c:v>
                </c:pt>
                <c:pt idx="10">
                  <c:v>0.004495114006514658</c:v>
                </c:pt>
                <c:pt idx="11">
                  <c:v>0.004389140271493213</c:v>
                </c:pt>
                <c:pt idx="12">
                  <c:v>0.004712182061579652</c:v>
                </c:pt>
                <c:pt idx="13">
                  <c:v>0.007159487776484284</c:v>
                </c:pt>
                <c:pt idx="14">
                  <c:v>0.007083147214600217</c:v>
                </c:pt>
                <c:pt idx="15">
                  <c:v>0.006742032143830019</c:v>
                </c:pt>
                <c:pt idx="16">
                  <c:v>0.006578419574809467</c:v>
                </c:pt>
                <c:pt idx="17">
                  <c:v>0.008692716684952317</c:v>
                </c:pt>
                <c:pt idx="18">
                  <c:v>0.0045393084798145645</c:v>
                </c:pt>
                <c:pt idx="19">
                  <c:v>0.004249565385358316</c:v>
                </c:pt>
                <c:pt idx="20">
                  <c:v>0.005283588527064913</c:v>
                </c:pt>
                <c:pt idx="21">
                  <c:v>0.006386028932620878</c:v>
                </c:pt>
                <c:pt idx="22">
                  <c:v>0.005594587561800677</c:v>
                </c:pt>
                <c:pt idx="23">
                  <c:v>0.006155108740254411</c:v>
                </c:pt>
                <c:pt idx="24">
                  <c:v>0.005360259286960858</c:v>
                </c:pt>
                <c:pt idx="25">
                  <c:v>0.005634910234569519</c:v>
                </c:pt>
                <c:pt idx="26">
                  <c:v>0.005329859054838328</c:v>
                </c:pt>
                <c:pt idx="27">
                  <c:v>0.005736747051949431</c:v>
                </c:pt>
                <c:pt idx="28">
                  <c:v>0.004617803104735705</c:v>
                </c:pt>
                <c:pt idx="29">
                  <c:v>0.005656517029726802</c:v>
                </c:pt>
                <c:pt idx="30">
                  <c:v>0.005475118627570264</c:v>
                </c:pt>
                <c:pt idx="31">
                  <c:v>0.005656108597285068</c:v>
                </c:pt>
                <c:pt idx="32">
                  <c:v>0.004734118683254431</c:v>
                </c:pt>
                <c:pt idx="33">
                  <c:v>0.00377132081940516</c:v>
                </c:pt>
                <c:pt idx="34">
                  <c:v>0.0037709000355745288</c:v>
                </c:pt>
                <c:pt idx="35">
                  <c:v>0.005075253762688134</c:v>
                </c:pt>
                <c:pt idx="36">
                  <c:v>0.006120461816664348</c:v>
                </c:pt>
                <c:pt idx="37">
                  <c:v>0.006313131313131313</c:v>
                </c:pt>
                <c:pt idx="38">
                  <c:v>0.007710981008139369</c:v>
                </c:pt>
                <c:pt idx="39">
                  <c:v>0.00704079519569269</c:v>
                </c:pt>
                <c:pt idx="40">
                  <c:v>0.006245662734212352</c:v>
                </c:pt>
                <c:pt idx="41">
                  <c:v>0.005339078306481828</c:v>
                </c:pt>
                <c:pt idx="42">
                  <c:v>0.006083893691962856</c:v>
                </c:pt>
                <c:pt idx="43">
                  <c:v>0.004629272432682663</c:v>
                </c:pt>
                <c:pt idx="44">
                  <c:v>0.0032489846922836613</c:v>
                </c:pt>
                <c:pt idx="45">
                  <c:v>0.002603690845971131</c:v>
                </c:pt>
                <c:pt idx="46">
                  <c:v>0.0028563729452977635</c:v>
                </c:pt>
                <c:pt idx="47">
                  <c:v>0.002651988991743808</c:v>
                </c:pt>
                <c:pt idx="48">
                  <c:v>0.002948885976408912</c:v>
                </c:pt>
                <c:pt idx="49">
                  <c:v>0.0026785714285714286</c:v>
                </c:pt>
                <c:pt idx="50">
                  <c:v>0.002142156609714551</c:v>
                </c:pt>
                <c:pt idx="51">
                  <c:v>0.0028273879647518966</c:v>
                </c:pt>
              </c:numCache>
            </c:numRef>
          </c:yVal>
          <c:smooth val="0"/>
          <c:extLst>
            <c:ext xmlns:c16="http://schemas.microsoft.com/office/drawing/2014/chart" uri="{C3380CC4-5D6E-409C-BE32-E72D297353CC}">
              <c16:uniqueId val="{00000002-F32D-48B7-BC20-E66FC6253BAD}"/>
            </c:ext>
          </c:extLst>
        </c:ser>
        <c:ser>
          <c:idx val="2"/>
          <c:order val="2"/>
          <c:tx>
            <c:strRef>
              <c:f>Sheet1!$B$111</c:f>
              <c:strCache>
                <c:ptCount val="1"/>
                <c:pt idx="0">
                  <c:v>Custom Linep3yQ</c:v>
                </c:pt>
              </c:strCache>
            </c:strRef>
          </c:tx>
          <c:spPr>
            <a:ln w="19050" cap="rnd">
              <a:solidFill>
                <a:srgbClr val="C00000"/>
              </a:solidFill>
              <a:prstDash val="sysDot"/>
              <a:round/>
            </a:ln>
            <a:effectLst/>
          </c:spPr>
          <c:marker>
            <c:symbol val="none"/>
          </c:marker>
          <c:xVal>
            <c:numRef>
              <c:f>Sheet1!$A$112:$A$113</c:f>
              <c:numCache>
                <c:formatCode>General</c:formatCode>
                <c:ptCount val="2"/>
                <c:pt idx="0">
                  <c:v>0</c:v>
                </c:pt>
                <c:pt idx="1">
                  <c:v>3509.5810830388136</c:v>
                </c:pt>
              </c:numCache>
            </c:numRef>
          </c:xVal>
          <c:yVal>
            <c:numRef>
              <c:f>Sheet1!$B$112:$B$113</c:f>
              <c:numCache>
                <c:formatCode>General</c:formatCode>
                <c:ptCount val="2"/>
                <c:pt idx="0">
                  <c:v>0.005770929085095074</c:v>
                </c:pt>
                <c:pt idx="1">
                  <c:v>0.005770929085095074</c:v>
                </c:pt>
              </c:numCache>
            </c:numRef>
          </c:yVal>
          <c:smooth val="0"/>
          <c:extLst>
            <c:ext xmlns:c16="http://schemas.microsoft.com/office/drawing/2014/chart" uri="{C3380CC4-5D6E-409C-BE32-E72D297353CC}">
              <c16:uniqueId val="{00000003-F32D-48B7-BC20-E66FC6253BAD}"/>
            </c:ext>
          </c:extLst>
        </c:ser>
        <c:ser>
          <c:idx val="3"/>
          <c:order val="3"/>
          <c:tx>
            <c:strRef>
              <c:f>Sheet1!$B$11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6:$A$117</c:f>
              <c:numCache>
                <c:formatCode>General</c:formatCode>
                <c:ptCount val="2"/>
                <c:pt idx="0">
                  <c:v>3509.5810830388136</c:v>
                </c:pt>
                <c:pt idx="1">
                  <c:v>3509.5810830388136</c:v>
                </c:pt>
              </c:numCache>
            </c:numRef>
          </c:xVal>
          <c:yVal>
            <c:numRef>
              <c:f>Sheet1!$B$116:$B$117</c:f>
              <c:numCache>
                <c:formatCode>General</c:formatCode>
                <c:ptCount val="2"/>
                <c:pt idx="0">
                  <c:v>0.00577092908509507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1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0:$A$121</c:f>
              <c:numCache>
                <c:formatCode>General</c:formatCode>
                <c:ptCount val="2"/>
                <c:pt idx="0">
                  <c:v>0</c:v>
                </c:pt>
                <c:pt idx="1">
                  <c:v>3509.5810830388136</c:v>
                </c:pt>
              </c:numCache>
            </c:numRef>
          </c:xVal>
          <c:yVal>
            <c:numRef>
              <c:f>Sheet1!$B$120:$B$121</c:f>
              <c:numCache>
                <c:formatCode>General</c:formatCode>
                <c:ptCount val="2"/>
                <c:pt idx="0">
                  <c:v>0.005770929085095074</c:v>
                </c:pt>
                <c:pt idx="1">
                  <c:v>0.005770929085095074</c:v>
                </c:pt>
              </c:numCache>
            </c:numRef>
          </c:yVal>
          <c:smooth val="0"/>
          <c:extLst>
            <c:ext xmlns:c16="http://schemas.microsoft.com/office/drawing/2014/chart" uri="{C3380CC4-5D6E-409C-BE32-E72D297353CC}">
              <c16:uniqueId val="{0000000A-F32D-48B7-BC20-E66FC6253BAD}"/>
            </c:ext>
          </c:extLst>
        </c:ser>
        <c:ser>
          <c:idx val="5"/>
          <c:order val="5"/>
          <c:tx>
            <c:strRef>
              <c:f>Sheet1!$B$12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4:$A$125</c:f>
              <c:numCache>
                <c:formatCode>General</c:formatCode>
                <c:ptCount val="2"/>
                <c:pt idx="0">
                  <c:v>3509.5810830388136</c:v>
                </c:pt>
                <c:pt idx="1">
                  <c:v>3509.5810830388136</c:v>
                </c:pt>
              </c:numCache>
            </c:numRef>
          </c:xVal>
          <c:yVal>
            <c:numRef>
              <c:f>Sheet1!$B$124:$B$125</c:f>
              <c:numCache>
                <c:formatCode>General</c:formatCode>
                <c:ptCount val="2"/>
                <c:pt idx="0">
                  <c:v>0.00577092908509507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2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28:$A$129</c:f>
              <c:numCache>
                <c:formatCode>General</c:formatCode>
                <c:ptCount val="2"/>
                <c:pt idx="0">
                  <c:v>0</c:v>
                </c:pt>
                <c:pt idx="1">
                  <c:v>4273.154318813441</c:v>
                </c:pt>
              </c:numCache>
            </c:numRef>
          </c:xVal>
          <c:yVal>
            <c:numRef>
              <c:f>Sheet1!$B$128:$B$129</c:f>
              <c:numCache>
                <c:formatCode>General</c:formatCode>
                <c:ptCount val="2"/>
                <c:pt idx="0">
                  <c:v>0.0039459032165981185</c:v>
                </c:pt>
                <c:pt idx="1">
                  <c:v>0.0039459032165981185</c:v>
                </c:pt>
              </c:numCache>
            </c:numRef>
          </c:yVal>
          <c:smooth val="0"/>
          <c:extLst>
            <c:ext xmlns:c16="http://schemas.microsoft.com/office/drawing/2014/chart" uri="{C3380CC4-5D6E-409C-BE32-E72D297353CC}">
              <c16:uniqueId val="{00000011-F32D-48B7-BC20-E66FC6253BAD}"/>
            </c:ext>
          </c:extLst>
        </c:ser>
        <c:ser>
          <c:idx val="7"/>
          <c:order val="7"/>
          <c:tx>
            <c:strRef>
              <c:f>Sheet1!$B$13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2:$A$133</c:f>
              <c:numCache>
                <c:formatCode>General</c:formatCode>
                <c:ptCount val="2"/>
                <c:pt idx="0">
                  <c:v>4273.154318813441</c:v>
                </c:pt>
                <c:pt idx="1">
                  <c:v>4273.154318813441</c:v>
                </c:pt>
              </c:numCache>
            </c:numRef>
          </c:xVal>
          <c:yVal>
            <c:numRef>
              <c:f>Sheet1!$B$132:$B$133</c:f>
              <c:numCache>
                <c:formatCode>General</c:formatCode>
                <c:ptCount val="2"/>
                <c:pt idx="0">
                  <c:v>0.003945903216598118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36:$A$190</c:f>
              <c:numCache>
                <c:formatCode>General</c:formatCode>
                <c:ptCount val="55"/>
                <c:pt idx="0">
                  <c:v>4430.5273</c:v>
                </c:pt>
                <c:pt idx="1">
                  <c:v>3722.0615</c:v>
                </c:pt>
                <c:pt idx="2">
                  <c:v>4355.0303</c:v>
                </c:pt>
                <c:pt idx="3">
                  <c:v>3640.7083</c:v>
                </c:pt>
                <c:pt idx="4">
                  <c:v>4474.0758</c:v>
                </c:pt>
                <c:pt idx="5">
                  <c:v>4840.7895</c:v>
                </c:pt>
                <c:pt idx="6">
                  <c:v>4509.5735</c:v>
                </c:pt>
                <c:pt idx="7">
                  <c:v>4197.2667</c:v>
                </c:pt>
                <c:pt idx="8">
                  <c:v>4072.0308</c:v>
                </c:pt>
                <c:pt idx="9">
                  <c:v>4073.5493</c:v>
                </c:pt>
                <c:pt idx="10">
                  <c:v>4277.8841</c:v>
                </c:pt>
                <c:pt idx="11">
                  <c:v>3992.3093</c:v>
                </c:pt>
                <c:pt idx="12">
                  <c:v>3805.0455</c:v>
                </c:pt>
                <c:pt idx="13">
                  <c:v>3405.7154</c:v>
                </c:pt>
                <c:pt idx="14">
                  <c:v>3395.1892</c:v>
                </c:pt>
                <c:pt idx="15">
                  <c:v>3618.5455</c:v>
                </c:pt>
                <c:pt idx="16">
                  <c:v>3744.5854</c:v>
                </c:pt>
                <c:pt idx="17">
                  <c:v>2920.835</c:v>
                </c:pt>
                <c:pt idx="18">
                  <c:v>4092.9149</c:v>
                </c:pt>
                <c:pt idx="19">
                  <c:v>4340.0227</c:v>
                </c:pt>
                <c:pt idx="20">
                  <c:v>4110.9592</c:v>
                </c:pt>
                <c:pt idx="21">
                  <c:v>3771.3673</c:v>
                </c:pt>
                <c:pt idx="22">
                  <c:v>3992.3721</c:v>
                </c:pt>
                <c:pt idx="23">
                  <c:v>3072.6</c:v>
                </c:pt>
                <c:pt idx="24">
                  <c:v>3984.5116</c:v>
                </c:pt>
                <c:pt idx="25">
                  <c:v>3700.8837</c:v>
                </c:pt>
                <c:pt idx="26">
                  <c:v>3957.6</c:v>
                </c:pt>
                <c:pt idx="27">
                  <c:v>3678.6481</c:v>
                </c:pt>
                <c:pt idx="28">
                  <c:v>3830.0638</c:v>
                </c:pt>
                <c:pt idx="29">
                  <c:v>3654.4468</c:v>
                </c:pt>
                <c:pt idx="30">
                  <c:v>3579.5778</c:v>
                </c:pt>
                <c:pt idx="31">
                  <c:v>3732.3778</c:v>
                </c:pt>
                <c:pt idx="32">
                  <c:v>4218.2791</c:v>
                </c:pt>
                <c:pt idx="33">
                  <c:v>4633.4545</c:v>
                </c:pt>
                <c:pt idx="34">
                  <c:v>4685.7358</c:v>
                </c:pt>
                <c:pt idx="35">
                  <c:v>3919.569</c:v>
                </c:pt>
                <c:pt idx="36">
                  <c:v>4224.2727</c:v>
                </c:pt>
                <c:pt idx="37">
                  <c:v>4147.16</c:v>
                </c:pt>
                <c:pt idx="38">
                  <c:v>3591.0556</c:v>
                </c:pt>
                <c:pt idx="39">
                  <c:v>3182.6471</c:v>
                </c:pt>
                <c:pt idx="40">
                  <c:v>3225.8095</c:v>
                </c:pt>
                <c:pt idx="41">
                  <c:v>3429.8421</c:v>
                </c:pt>
                <c:pt idx="42">
                  <c:v>3273.3684</c:v>
                </c:pt>
                <c:pt idx="43">
                  <c:v>3447.6833</c:v>
                </c:pt>
                <c:pt idx="44">
                  <c:v>4072.6154</c:v>
                </c:pt>
                <c:pt idx="45">
                  <c:v>4171.614</c:v>
                </c:pt>
                <c:pt idx="46">
                  <c:v>4105.0566</c:v>
                </c:pt>
                <c:pt idx="47">
                  <c:v>4067.1132</c:v>
                </c:pt>
                <c:pt idx="48">
                  <c:v>3616.0</c:v>
                </c:pt>
                <c:pt idx="49">
                  <c:v>3797.1304</c:v>
                </c:pt>
                <c:pt idx="50">
                  <c:v>4101.8313</c:v>
                </c:pt>
                <c:pt idx="51">
                  <c:v>4213.15</c:v>
                </c:pt>
                <c:pt idx="52">
                  <c:v>3509.5810830388136</c:v>
                </c:pt>
                <c:pt idx="53">
                  <c:v>3509.5810830388136</c:v>
                </c:pt>
                <c:pt idx="54">
                  <c:v>4273.154318813441</c:v>
                </c:pt>
              </c:numCache>
            </c:numRef>
          </c:xVal>
          <c:yVal>
            <c:numRef>
              <c:f>Sheet1!$B$136:$B$190</c:f>
              <c:numCache>
                <c:formatCode>General</c:formatCode>
                <c:ptCount val="55"/>
                <c:pt idx="0">
                  <c:v>0.0035697641009092528</c:v>
                </c:pt>
                <c:pt idx="1">
                  <c:v>0.005263077003153271</c:v>
                </c:pt>
                <c:pt idx="2">
                  <c:v>0.0037502104176978905</c:v>
                </c:pt>
                <c:pt idx="3">
                  <c:v>0.005457520296250606</c:v>
                </c:pt>
                <c:pt idx="4">
                  <c:v>0.003465678290523806</c:v>
                </c:pt>
                <c:pt idx="5">
                  <c:v>0.0025891913244068202</c:v>
                </c:pt>
                <c:pt idx="6">
                  <c:v>0.0033808347971470056</c:v>
                </c:pt>
                <c:pt idx="7">
                  <c:v>0.004127283156261227</c:v>
                </c:pt>
                <c:pt idx="8">
                  <c:v>0.004426611035312186</c:v>
                </c:pt>
                <c:pt idx="9">
                  <c:v>0.004422981649614164</c:v>
                </c:pt>
                <c:pt idx="10">
                  <c:v>0.0039345985078768336</c:v>
                </c:pt>
                <c:pt idx="11">
                  <c:v>0.004617154381986432</c:v>
                </c:pt>
                <c:pt idx="12">
                  <c:v>0.005064735914734017</c:v>
                </c:pt>
                <c:pt idx="13">
                  <c:v>0.006019179743334345</c:v>
                </c:pt>
                <c:pt idx="14">
                  <c:v>0.006044338544608311</c:v>
                </c:pt>
                <c:pt idx="15">
                  <c:v>0.005510491879621113</c:v>
                </c:pt>
                <c:pt idx="16">
                  <c:v>0.0052092423501906935</c:v>
                </c:pt>
                <c:pt idx="17">
                  <c:v>0.007178098405837518</c:v>
                </c:pt>
                <c:pt idx="18">
                  <c:v>0.004376695688683239</c:v>
                </c:pt>
                <c:pt idx="19">
                  <c:v>0.003786080268736171</c:v>
                </c:pt>
                <c:pt idx="20">
                  <c:v>0.004333567783282637</c:v>
                </c:pt>
                <c:pt idx="21">
                  <c:v>0.005145230598576701</c:v>
                </c:pt>
                <c:pt idx="22">
                  <c:v>0.0046170042829269415</c:v>
                </c:pt>
                <c:pt idx="23">
                  <c:v>0.0068153629955903855</c:v>
                </c:pt>
                <c:pt idx="24">
                  <c:v>0.004635791761543537</c:v>
                </c:pt>
                <c:pt idx="25">
                  <c:v>0.0053136943257977</c:v>
                </c:pt>
                <c:pt idx="26">
                  <c:v>0.004700113510737401</c:v>
                </c:pt>
                <c:pt idx="27">
                  <c:v>0.005366839909351821</c:v>
                </c:pt>
                <c:pt idx="28">
                  <c:v>0.005004939365370291</c:v>
                </c:pt>
                <c:pt idx="29">
                  <c:v>0.0054246837368747275</c:v>
                </c:pt>
                <c:pt idx="30">
                  <c:v>0.005603629063068464</c:v>
                </c:pt>
                <c:pt idx="31">
                  <c:v>0.005238419886474638</c:v>
                </c:pt>
                <c:pt idx="32">
                  <c:v>0.004077061158209787</c:v>
                </c:pt>
                <c:pt idx="33">
                  <c:v>0.003084745281403423</c:v>
                </c:pt>
                <c:pt idx="34">
                  <c:v>0.0029597870973441624</c:v>
                </c:pt>
                <c:pt idx="35">
                  <c:v>0.004791011875888184</c:v>
                </c:pt>
                <c:pt idx="36">
                  <c:v>0.004062735780455644</c:v>
                </c:pt>
                <c:pt idx="37">
                  <c:v>0.004247043801868779</c:v>
                </c:pt>
                <c:pt idx="38">
                  <c:v>0.005576195830822989</c:v>
                </c:pt>
                <c:pt idx="39">
                  <c:v>0.006552338055946808</c:v>
                </c:pt>
                <c:pt idx="40">
                  <c:v>0.006449175067963738</c:v>
                </c:pt>
                <c:pt idx="41">
                  <c:v>0.0059615142181973935</c:v>
                </c:pt>
                <c:pt idx="42">
                  <c:v>0.0063355039507601504</c:v>
                </c:pt>
                <c:pt idx="43">
                  <c:v>0.0059188717446277215</c:v>
                </c:pt>
                <c:pt idx="44">
                  <c:v>0.004425213775595977</c:v>
                </c:pt>
                <c:pt idx="45">
                  <c:v>0.004188595992939293</c:v>
                </c:pt>
                <c:pt idx="46">
                  <c:v>0.004347675660807264</c:v>
                </c:pt>
                <c:pt idx="47">
                  <c:v>0.004438364652110734</c:v>
                </c:pt>
                <c:pt idx="48">
                  <c:v>0.005516575910766531</c:v>
                </c:pt>
                <c:pt idx="49">
                  <c:v>0.005083653893488322</c:v>
                </c:pt>
                <c:pt idx="50">
                  <c:v>0.004355384490370536</c:v>
                </c:pt>
                <c:pt idx="51">
                  <c:v>0.004089320283783527</c:v>
                </c:pt>
                <c:pt idx="52">
                  <c:v>0.005770929085095074</c:v>
                </c:pt>
                <c:pt idx="53">
                  <c:v>0.005770929085095074</c:v>
                </c:pt>
                <c:pt idx="54">
                  <c:v>0.003945903216598118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809.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043126002194278"/>
          <c:min val="0.0"/>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7/16/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1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1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16/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6/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1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6/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6/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6/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1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16/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1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16/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16/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 Id="rId7"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6/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Nivea | Autos Scanning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994905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16/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eauty Care vs Caribbean Beach | Autos Scanning | Sunscreen Cosmetic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057239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8</TotalTime>
  <Words>142</Words>
  <Application>Microsoft Office PowerPoint</Application>
  <PresentationFormat>On-screen Show (16:9)</PresentationFormat>
  <Paragraphs>26</Paragraphs>
  <Slides>2</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1" baseType="lpstr">
      <vt:lpstr>Aptos</vt:lpstr>
      <vt:lpstr>Arial</vt:lpstr>
      <vt:lpstr>Nexa</vt:lpstr>
      <vt:lpstr>Nexa Bold</vt:lpstr>
      <vt:lpstr>Nexa Book</vt:lpstr>
      <vt:lpstr>Nexa Book Italic</vt:lpstr>
      <vt:lpstr>Open Sans</vt:lpstr>
      <vt:lpstr>PricingOne Light Template Oct 2024</vt:lpstr>
      <vt:lpstr>think-cell Slide</vt:lpstr>
      <vt:lpstr>Price Correlation Analysis P3Y (Replace with SO WHAT)</vt:lpstr>
      <vt:lpstr>Price Correlation Analysis P3Y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40</cp:revision>
  <dcterms:created xsi:type="dcterms:W3CDTF">2024-07-05T14:56:51Z</dcterms:created>
  <dcterms:modified xsi:type="dcterms:W3CDTF">2025-07-16T09:0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